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1"/>
    <p:sldMasterId id="2147484760" r:id="rId2"/>
    <p:sldMasterId id="2147484796" r:id="rId3"/>
    <p:sldMasterId id="2147484832" r:id="rId4"/>
    <p:sldMasterId id="2147484868" r:id="rId5"/>
    <p:sldMasterId id="2147484904" r:id="rId6"/>
    <p:sldMasterId id="2147484940" r:id="rId7"/>
  </p:sldMasterIdLst>
  <p:notesMasterIdLst>
    <p:notesMasterId r:id="rId22"/>
  </p:notesMasterIdLst>
  <p:handoutMasterIdLst>
    <p:handoutMasterId r:id="rId23"/>
  </p:handoutMasterIdLst>
  <p:sldIdLst>
    <p:sldId id="258" r:id="rId8"/>
    <p:sldId id="339" r:id="rId9"/>
    <p:sldId id="259" r:id="rId10"/>
    <p:sldId id="816" r:id="rId11"/>
    <p:sldId id="814" r:id="rId12"/>
    <p:sldId id="810" r:id="rId13"/>
    <p:sldId id="815" r:id="rId14"/>
    <p:sldId id="809" r:id="rId15"/>
    <p:sldId id="511" r:id="rId16"/>
    <p:sldId id="418" r:id="rId17"/>
    <p:sldId id="803" r:id="rId18"/>
    <p:sldId id="802" r:id="rId19"/>
    <p:sldId id="808" r:id="rId20"/>
    <p:sldId id="807" r:id="rId21"/>
  </p:sldIdLst>
  <p:sldSz cx="9215438" cy="5184775"/>
  <p:notesSz cx="6805613" cy="9939338"/>
  <p:custDataLst>
    <p:tags r:id="rId24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le Slides" id="{C38F09E5-434C-4C86-A253-07E9B630289B}">
          <p14:sldIdLst>
            <p14:sldId id="258"/>
            <p14:sldId id="339"/>
            <p14:sldId id="259"/>
            <p14:sldId id="816"/>
            <p14:sldId id="814"/>
            <p14:sldId id="810"/>
            <p14:sldId id="815"/>
            <p14:sldId id="809"/>
            <p14:sldId id="511"/>
            <p14:sldId id="418"/>
          </p14:sldIdLst>
        </p14:section>
        <p14:section name="REFERENCES" id="{88508D9C-F6AC-F84F-9A5F-4800ADA716FF}">
          <p14:sldIdLst>
            <p14:sldId id="803"/>
            <p14:sldId id="802"/>
            <p14:sldId id="808"/>
            <p14:sldId id="807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31" userDrawn="1">
          <p15:clr>
            <a:srgbClr val="A4A3A4"/>
          </p15:clr>
        </p15:guide>
        <p15:guide id="39" pos="5420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5" orient="horz" pos="386" userDrawn="1">
          <p15:clr>
            <a:srgbClr val="A4A3A4"/>
          </p15:clr>
        </p15:guide>
        <p15:guide id="56" orient="horz" pos="1111" userDrawn="1">
          <p15:clr>
            <a:srgbClr val="A4A3A4"/>
          </p15:clr>
        </p15:guide>
        <p15:guide id="58" orient="horz" pos="2132" userDrawn="1">
          <p15:clr>
            <a:srgbClr val="A4A3A4"/>
          </p15:clr>
        </p15:guide>
        <p15:guide id="60" orient="horz" pos="2359" userDrawn="1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880" userDrawn="1">
          <p15:clr>
            <a:srgbClr val="A4A3A4"/>
          </p15:clr>
        </p15:guide>
        <p15:guide id="63" orient="horz" pos="182" userDrawn="1">
          <p15:clr>
            <a:srgbClr val="A4A3A4"/>
          </p15:clr>
        </p15:guide>
        <p15:guide id="64" orient="horz" pos="1656" userDrawn="1">
          <p15:clr>
            <a:srgbClr val="A4A3A4"/>
          </p15:clr>
        </p15:guide>
        <p15:guide id="65" orient="horz" pos="476" userDrawn="1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74" userDrawn="1">
          <p15:clr>
            <a:srgbClr val="A4A3A4"/>
          </p15:clr>
        </p15:guide>
        <p15:guide id="71" pos="3424" userDrawn="1">
          <p15:clr>
            <a:srgbClr val="A4A3A4"/>
          </p15:clr>
        </p15:guide>
        <p15:guide id="72" pos="4513" userDrawn="1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 userDrawn="1">
          <p15:clr>
            <a:srgbClr val="A4A3A4"/>
          </p15:clr>
        </p15:guide>
        <p15:guide id="79" pos="1632">
          <p15:clr>
            <a:srgbClr val="A4A3A4"/>
          </p15:clr>
        </p15:guide>
        <p15:guide id="82" pos="2336" userDrawn="1">
          <p15:clr>
            <a:srgbClr val="A4A3A4"/>
          </p15:clr>
        </p15:guide>
        <p15:guide id="83" pos="3061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95" userDrawn="1">
          <p15:clr>
            <a:srgbClr val="A4A3A4"/>
          </p15:clr>
        </p15:guide>
        <p15:guide id="90" pos="4898">
          <p15:clr>
            <a:srgbClr val="A4A3A4"/>
          </p15:clr>
        </p15:guide>
        <p15:guide id="91" pos="5057" userDrawn="1">
          <p15:clr>
            <a:srgbClr val="A4A3A4"/>
          </p15:clr>
        </p15:guide>
        <p15:guide id="93" pos="2608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 userDrawn="1">
          <p15:clr>
            <a:srgbClr val="A4A3A4"/>
          </p15:clr>
        </p15:guide>
        <p15:guide id="103" pos="1769" userDrawn="1">
          <p15:clr>
            <a:srgbClr val="A4A3A4"/>
          </p15:clr>
        </p15:guide>
        <p15:guide id="104" orient="horz" pos="3062" userDrawn="1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7" userDrawn="1">
          <p15:clr>
            <a:srgbClr val="A4A3A4"/>
          </p15:clr>
        </p15:guide>
        <p15:guide id="113" pos="1270" userDrawn="1">
          <p15:clr>
            <a:srgbClr val="A4A3A4"/>
          </p15:clr>
        </p15:guide>
        <p15:guide id="114" pos="566" userDrawn="1">
          <p15:clr>
            <a:srgbClr val="A4A3A4"/>
          </p15:clr>
        </p15:guide>
        <p15:guide id="115" pos="2539">
          <p15:clr>
            <a:srgbClr val="A4A3A4"/>
          </p15:clr>
        </p15:guide>
        <p15:guide id="116" pos="18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66D789-431E-B64A-A60E-D0AD5E2AEE70}" v="441" dt="2019-03-22T16:22:03.806"/>
    <p1510:client id="{EC873775-63E3-F745-86AD-FE1173B5F5A9}" v="437" dt="2019-03-22T15:07:05.5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6" autoAdjust="0"/>
    <p:restoredTop sz="80633" autoAdjust="0"/>
  </p:normalViewPr>
  <p:slideViewPr>
    <p:cSldViewPr snapToGrid="0" snapToObjects="1" showGuides="1">
      <p:cViewPr>
        <p:scale>
          <a:sx n="86" d="100"/>
          <a:sy n="86" d="100"/>
        </p:scale>
        <p:origin x="-1194" y="180"/>
      </p:cViewPr>
      <p:guideLst>
        <p:guide orient="horz" pos="1996"/>
        <p:guide orient="horz" pos="1814"/>
        <p:guide orient="horz" pos="2540"/>
        <p:guide orient="horz" pos="907"/>
        <p:guide orient="horz" pos="386"/>
        <p:guide orient="horz" pos="1111"/>
        <p:guide orient="horz" pos="2132"/>
        <p:guide orient="horz" pos="2359"/>
        <p:guide orient="horz" pos="2722"/>
        <p:guide orient="horz" pos="2880"/>
        <p:guide orient="horz" pos="182"/>
        <p:guide orient="horz" pos="1656"/>
        <p:guide orient="horz" pos="476"/>
        <p:guide orient="horz" pos="1270"/>
        <p:guide orient="horz" pos="1474"/>
        <p:guide orient="horz" pos="3062"/>
        <p:guide orient="horz" pos="3084"/>
        <p:guide pos="3628"/>
        <p:guide pos="4331"/>
        <p:guide pos="5420"/>
        <p:guide pos="181"/>
        <p:guide pos="3424"/>
        <p:guide pos="4513"/>
        <p:guide pos="4717"/>
        <p:guide pos="725"/>
        <p:guide pos="1632"/>
        <p:guide pos="2336"/>
        <p:guide pos="3061"/>
        <p:guide pos="3265"/>
        <p:guide pos="3991"/>
        <p:guide pos="4195"/>
        <p:guide pos="4898"/>
        <p:guide pos="5057"/>
        <p:guide pos="2608"/>
        <p:guide pos="5260"/>
        <p:guide pos="5624"/>
        <p:guide pos="1088"/>
        <p:guide pos="1995"/>
        <p:guide pos="2721"/>
        <p:guide pos="1769"/>
        <p:guide pos="3810"/>
        <p:guide pos="2902"/>
        <p:guide pos="2177"/>
        <p:guide pos="362"/>
        <p:guide pos="907"/>
        <p:guide pos="1270"/>
        <p:guide pos="566"/>
        <p:guide pos="2539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4792" y="680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choso, Javier" userId="0727bfb3-dfc8-454a-8991-910803274352" providerId="ADAL" clId="{2666D789-431E-B64A-A60E-D0AD5E2AEE70}"/>
    <pc:docChg chg="undo custSel addSld delSld modSld sldOrd modSection">
      <pc:chgData name="Frechoso, Javier" userId="0727bfb3-dfc8-454a-8991-910803274352" providerId="ADAL" clId="{2666D789-431E-B64A-A60E-D0AD5E2AEE70}" dt="2019-03-22T16:22:03.806" v="2014" actId="1035"/>
      <pc:docMkLst>
        <pc:docMk/>
      </pc:docMkLst>
      <pc:sldChg chg="addSp delSp modSp modNotesTx">
        <pc:chgData name="Frechoso, Javier" userId="0727bfb3-dfc8-454a-8991-910803274352" providerId="ADAL" clId="{2666D789-431E-B64A-A60E-D0AD5E2AEE70}" dt="2019-03-22T13:10:04.701" v="1593" actId="20577"/>
        <pc:sldMkLst>
          <pc:docMk/>
          <pc:sldMk cId="337580700" sldId="257"/>
        </pc:sldMkLst>
        <pc:spChg chg="mod">
          <ac:chgData name="Frechoso, Javier" userId="0727bfb3-dfc8-454a-8991-910803274352" providerId="ADAL" clId="{2666D789-431E-B64A-A60E-D0AD5E2AEE70}" dt="2019-03-14T18:28:10.500" v="461" actId="207"/>
          <ac:spMkLst>
            <pc:docMk/>
            <pc:sldMk cId="337580700" sldId="257"/>
            <ac:spMk id="2" creationId="{00000000-0000-0000-0000-000000000000}"/>
          </ac:spMkLst>
        </pc:spChg>
        <pc:picChg chg="del">
          <ac:chgData name="Frechoso, Javier" userId="0727bfb3-dfc8-454a-8991-910803274352" providerId="ADAL" clId="{2666D789-431E-B64A-A60E-D0AD5E2AEE70}" dt="2019-03-14T18:19:49.525" v="163" actId="478"/>
          <ac:picMkLst>
            <pc:docMk/>
            <pc:sldMk cId="337580700" sldId="257"/>
            <ac:picMk id="6" creationId="{7EE3EDD8-5621-594C-83BD-4F08AEEC2142}"/>
          </ac:picMkLst>
        </pc:picChg>
        <pc:picChg chg="add mod">
          <ac:chgData name="Frechoso, Javier" userId="0727bfb3-dfc8-454a-8991-910803274352" providerId="ADAL" clId="{2666D789-431E-B64A-A60E-D0AD5E2AEE70}" dt="2019-03-14T18:19:58.422" v="210" actId="1035"/>
          <ac:picMkLst>
            <pc:docMk/>
            <pc:sldMk cId="337580700" sldId="257"/>
            <ac:picMk id="7" creationId="{F4714DE2-8F6A-3F4D-892B-3058957A234D}"/>
          </ac:picMkLst>
        </pc:picChg>
        <pc:picChg chg="add mod">
          <ac:chgData name="Frechoso, Javier" userId="0727bfb3-dfc8-454a-8991-910803274352" providerId="ADAL" clId="{2666D789-431E-B64A-A60E-D0AD5E2AEE70}" dt="2019-03-14T18:27:54.255" v="399" actId="14100"/>
          <ac:picMkLst>
            <pc:docMk/>
            <pc:sldMk cId="337580700" sldId="257"/>
            <ac:picMk id="9" creationId="{07619E48-D0D9-234C-BAA5-F7C9FE2AD13C}"/>
          </ac:picMkLst>
        </pc:picChg>
      </pc:sldChg>
      <pc:sldChg chg="add">
        <pc:chgData name="Frechoso, Javier" userId="0727bfb3-dfc8-454a-8991-910803274352" providerId="ADAL" clId="{2666D789-431E-B64A-A60E-D0AD5E2AEE70}" dt="2019-03-22T13:14:31.436" v="1662"/>
        <pc:sldMkLst>
          <pc:docMk/>
          <pc:sldMk cId="36686495" sldId="323"/>
        </pc:sldMkLst>
      </pc:sldChg>
      <pc:sldChg chg="modNotesTx">
        <pc:chgData name="Frechoso, Javier" userId="0727bfb3-dfc8-454a-8991-910803274352" providerId="ADAL" clId="{2666D789-431E-B64A-A60E-D0AD5E2AEE70}" dt="2019-03-22T13:14:51.918" v="1668" actId="20577"/>
        <pc:sldMkLst>
          <pc:docMk/>
          <pc:sldMk cId="2194784660" sldId="335"/>
        </pc:sldMkLst>
      </pc:sldChg>
      <pc:sldChg chg="modAnim">
        <pc:chgData name="Frechoso, Javier" userId="0727bfb3-dfc8-454a-8991-910803274352" providerId="ADAL" clId="{2666D789-431E-B64A-A60E-D0AD5E2AEE70}" dt="2019-03-22T13:13:40.242" v="1620"/>
        <pc:sldMkLst>
          <pc:docMk/>
          <pc:sldMk cId="3010422532" sldId="485"/>
        </pc:sldMkLst>
      </pc:sldChg>
      <pc:sldChg chg="addSp delSp modSp ord setBg modNotesTx">
        <pc:chgData name="Frechoso, Javier" userId="0727bfb3-dfc8-454a-8991-910803274352" providerId="ADAL" clId="{2666D789-431E-B64A-A60E-D0AD5E2AEE70}" dt="2019-03-22T16:19:27.179" v="2009"/>
        <pc:sldMkLst>
          <pc:docMk/>
          <pc:sldMk cId="3431274460" sldId="511"/>
        </pc:sldMkLst>
        <pc:grpChg chg="mod">
          <ac:chgData name="Frechoso, Javier" userId="0727bfb3-dfc8-454a-8991-910803274352" providerId="ADAL" clId="{2666D789-431E-B64A-A60E-D0AD5E2AEE70}" dt="2019-03-22T16:18:10.781" v="1948" actId="1076"/>
          <ac:grpSpMkLst>
            <pc:docMk/>
            <pc:sldMk cId="3431274460" sldId="511"/>
            <ac:grpSpMk id="6" creationId="{00000000-0000-0000-0000-000000000000}"/>
          </ac:grpSpMkLst>
        </pc:grpChg>
        <pc:picChg chg="add del mod">
          <ac:chgData name="Frechoso, Javier" userId="0727bfb3-dfc8-454a-8991-910803274352" providerId="ADAL" clId="{2666D789-431E-B64A-A60E-D0AD5E2AEE70}" dt="2019-03-22T16:19:27.179" v="2009"/>
          <ac:picMkLst>
            <pc:docMk/>
            <pc:sldMk cId="3431274460" sldId="511"/>
            <ac:picMk id="9" creationId="{224ACE68-68DA-844D-9B10-70CB67E27D91}"/>
          </ac:picMkLst>
        </pc:picChg>
      </pc:sldChg>
      <pc:sldChg chg="delSp modSp add del delAnim">
        <pc:chgData name="Frechoso, Javier" userId="0727bfb3-dfc8-454a-8991-910803274352" providerId="ADAL" clId="{2666D789-431E-B64A-A60E-D0AD5E2AEE70}" dt="2019-03-22T16:19:30.275" v="2012" actId="2696"/>
        <pc:sldMkLst>
          <pc:docMk/>
          <pc:sldMk cId="140573073" sldId="519"/>
        </pc:sldMkLst>
        <pc:spChg chg="mod">
          <ac:chgData name="Frechoso, Javier" userId="0727bfb3-dfc8-454a-8991-910803274352" providerId="ADAL" clId="{2666D789-431E-B64A-A60E-D0AD5E2AEE70}" dt="2019-03-17T18:16:00.956" v="662" actId="20577"/>
          <ac:spMkLst>
            <pc:docMk/>
            <pc:sldMk cId="140573073" sldId="519"/>
            <ac:spMk id="4" creationId="{D34C1CAC-1FAE-2748-86D7-BCB7630F503A}"/>
          </ac:spMkLst>
        </pc:spChg>
        <pc:spChg chg="mod">
          <ac:chgData name="Frechoso, Javier" userId="0727bfb3-dfc8-454a-8991-910803274352" providerId="ADAL" clId="{2666D789-431E-B64A-A60E-D0AD5E2AEE70}" dt="2019-03-17T18:15:09.661" v="605" actId="14100"/>
          <ac:spMkLst>
            <pc:docMk/>
            <pc:sldMk cId="140573073" sldId="519"/>
            <ac:spMk id="7" creationId="{E8B24145-2E14-4102-8E72-5B362C9E9641}"/>
          </ac:spMkLst>
        </pc:spChg>
        <pc:spChg chg="del">
          <ac:chgData name="Frechoso, Javier" userId="0727bfb3-dfc8-454a-8991-910803274352" providerId="ADAL" clId="{2666D789-431E-B64A-A60E-D0AD5E2AEE70}" dt="2019-03-17T18:15:11.812" v="606" actId="478"/>
          <ac:spMkLst>
            <pc:docMk/>
            <pc:sldMk cId="140573073" sldId="519"/>
            <ac:spMk id="8" creationId="{2C3803EF-2A05-440F-BE17-85334C66868B}"/>
          </ac:spMkLst>
        </pc:spChg>
      </pc:sldChg>
      <pc:sldChg chg="modNotesTx">
        <pc:chgData name="Frechoso, Javier" userId="0727bfb3-dfc8-454a-8991-910803274352" providerId="ADAL" clId="{2666D789-431E-B64A-A60E-D0AD5E2AEE70}" dt="2019-03-22T13:10:09.655" v="1601" actId="20577"/>
        <pc:sldMkLst>
          <pc:docMk/>
          <pc:sldMk cId="106972083" sldId="552"/>
        </pc:sldMkLst>
      </pc:sldChg>
      <pc:sldChg chg="modNotesTx">
        <pc:chgData name="Frechoso, Javier" userId="0727bfb3-dfc8-454a-8991-910803274352" providerId="ADAL" clId="{2666D789-431E-B64A-A60E-D0AD5E2AEE70}" dt="2019-03-22T13:43:17.674" v="1737" actId="20577"/>
        <pc:sldMkLst>
          <pc:docMk/>
          <pc:sldMk cId="3670569808" sldId="554"/>
        </pc:sldMkLst>
      </pc:sldChg>
      <pc:sldChg chg="modSp modNotesTx">
        <pc:chgData name="Frechoso, Javier" userId="0727bfb3-dfc8-454a-8991-910803274352" providerId="ADAL" clId="{2666D789-431E-B64A-A60E-D0AD5E2AEE70}" dt="2019-03-22T13:41:10.230" v="1682" actId="20577"/>
        <pc:sldMkLst>
          <pc:docMk/>
          <pc:sldMk cId="3244467801" sldId="746"/>
        </pc:sldMkLst>
        <pc:spChg chg="mod">
          <ac:chgData name="Frechoso, Javier" userId="0727bfb3-dfc8-454a-8991-910803274352" providerId="ADAL" clId="{2666D789-431E-B64A-A60E-D0AD5E2AEE70}" dt="2019-03-14T18:23:17.883" v="212" actId="113"/>
          <ac:spMkLst>
            <pc:docMk/>
            <pc:sldMk cId="3244467801" sldId="746"/>
            <ac:spMk id="2" creationId="{213FB3D8-6BBC-9D4D-A975-F4D8B5C5212E}"/>
          </ac:spMkLst>
        </pc:spChg>
        <pc:spChg chg="mod">
          <ac:chgData name="Frechoso, Javier" userId="0727bfb3-dfc8-454a-8991-910803274352" providerId="ADAL" clId="{2666D789-431E-B64A-A60E-D0AD5E2AEE70}" dt="2019-03-17T18:12:52.683" v="508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Frechoso, Javier" userId="0727bfb3-dfc8-454a-8991-910803274352" providerId="ADAL" clId="{2666D789-431E-B64A-A60E-D0AD5E2AEE70}" dt="2019-03-22T13:41:10.230" v="1682" actId="20577"/>
          <ac:spMkLst>
            <pc:docMk/>
            <pc:sldMk cId="3244467801" sldId="746"/>
            <ac:spMk id="7" creationId="{6A569B09-1D93-9940-B50E-077EFE5A54D2}"/>
          </ac:spMkLst>
        </pc:spChg>
        <pc:spChg chg="mod">
          <ac:chgData name="Frechoso, Javier" userId="0727bfb3-dfc8-454a-8991-910803274352" providerId="ADAL" clId="{2666D789-431E-B64A-A60E-D0AD5E2AEE70}" dt="2019-03-14T18:23:13.540" v="211" actId="113"/>
          <ac:spMkLst>
            <pc:docMk/>
            <pc:sldMk cId="3244467801" sldId="746"/>
            <ac:spMk id="9" creationId="{26B1F0FE-B33A-C14B-8ABF-807EB128636E}"/>
          </ac:spMkLst>
        </pc:spChg>
      </pc:sldChg>
      <pc:sldChg chg="modNotesTx">
        <pc:chgData name="Frechoso, Javier" userId="0727bfb3-dfc8-454a-8991-910803274352" providerId="ADAL" clId="{2666D789-431E-B64A-A60E-D0AD5E2AEE70}" dt="2019-03-22T15:05:46.230" v="1898" actId="20577"/>
        <pc:sldMkLst>
          <pc:docMk/>
          <pc:sldMk cId="3361152087" sldId="749"/>
        </pc:sldMkLst>
      </pc:sldChg>
      <pc:sldChg chg="modNotesTx">
        <pc:chgData name="Frechoso, Javier" userId="0727bfb3-dfc8-454a-8991-910803274352" providerId="ADAL" clId="{2666D789-431E-B64A-A60E-D0AD5E2AEE70}" dt="2019-03-22T15:05:35.007" v="1880" actId="20577"/>
        <pc:sldMkLst>
          <pc:docMk/>
          <pc:sldMk cId="4045491939" sldId="775"/>
        </pc:sldMkLst>
      </pc:sldChg>
      <pc:sldChg chg="modNotesTx">
        <pc:chgData name="Frechoso, Javier" userId="0727bfb3-dfc8-454a-8991-910803274352" providerId="ADAL" clId="{2666D789-431E-B64A-A60E-D0AD5E2AEE70}" dt="2019-03-22T15:05:41.065" v="1890" actId="20577"/>
        <pc:sldMkLst>
          <pc:docMk/>
          <pc:sldMk cId="4095401837" sldId="781"/>
        </pc:sldMkLst>
      </pc:sldChg>
      <pc:sldChg chg="addSp delSp modSp modNotesTx">
        <pc:chgData name="Frechoso, Javier" userId="0727bfb3-dfc8-454a-8991-910803274352" providerId="ADAL" clId="{2666D789-431E-B64A-A60E-D0AD5E2AEE70}" dt="2019-03-22T13:11:06.066" v="1617" actId="20577"/>
        <pc:sldMkLst>
          <pc:docMk/>
          <pc:sldMk cId="412400582" sldId="785"/>
        </pc:sldMkLst>
        <pc:spChg chg="add del mod">
          <ac:chgData name="Frechoso, Javier" userId="0727bfb3-dfc8-454a-8991-910803274352" providerId="ADAL" clId="{2666D789-431E-B64A-A60E-D0AD5E2AEE70}" dt="2019-03-14T18:28:42.154" v="463" actId="478"/>
          <ac:spMkLst>
            <pc:docMk/>
            <pc:sldMk cId="412400582" sldId="785"/>
            <ac:spMk id="3" creationId="{5001235F-B364-714D-8536-35D7C7BD153E}"/>
          </ac:spMkLst>
        </pc:spChg>
        <pc:picChg chg="add del mod">
          <ac:chgData name="Frechoso, Javier" userId="0727bfb3-dfc8-454a-8991-910803274352" providerId="ADAL" clId="{2666D789-431E-B64A-A60E-D0AD5E2AEE70}" dt="2019-03-14T18:28:45.600" v="465" actId="1076"/>
          <ac:picMkLst>
            <pc:docMk/>
            <pc:sldMk cId="412400582" sldId="785"/>
            <ac:picMk id="19" creationId="{9323F260-F4CD-F94B-9CF5-45D179E74A66}"/>
          </ac:picMkLst>
        </pc:picChg>
      </pc:sldChg>
      <pc:sldChg chg="modNotesTx">
        <pc:chgData name="Frechoso, Javier" userId="0727bfb3-dfc8-454a-8991-910803274352" providerId="ADAL" clId="{2666D789-431E-B64A-A60E-D0AD5E2AEE70}" dt="2019-03-22T13:44:03.144" v="1748" actId="20577"/>
        <pc:sldMkLst>
          <pc:docMk/>
          <pc:sldMk cId="3292699447" sldId="786"/>
        </pc:sldMkLst>
      </pc:sldChg>
      <pc:sldChg chg="modNotesTx">
        <pc:chgData name="Frechoso, Javier" userId="0727bfb3-dfc8-454a-8991-910803274352" providerId="ADAL" clId="{2666D789-431E-B64A-A60E-D0AD5E2AEE70}" dt="2019-03-22T13:44:30.666" v="1784" actId="20577"/>
        <pc:sldMkLst>
          <pc:docMk/>
          <pc:sldMk cId="3421189455" sldId="787"/>
        </pc:sldMkLst>
      </pc:sldChg>
      <pc:sldChg chg="modNotesTx">
        <pc:chgData name="Frechoso, Javier" userId="0727bfb3-dfc8-454a-8991-910803274352" providerId="ADAL" clId="{2666D789-431E-B64A-A60E-D0AD5E2AEE70}" dt="2019-03-22T13:44:13.929" v="1772" actId="20577"/>
        <pc:sldMkLst>
          <pc:docMk/>
          <pc:sldMk cId="2930888658" sldId="788"/>
        </pc:sldMkLst>
      </pc:sldChg>
      <pc:sldChg chg="modNotesTx">
        <pc:chgData name="Frechoso, Javier" userId="0727bfb3-dfc8-454a-8991-910803274352" providerId="ADAL" clId="{2666D789-431E-B64A-A60E-D0AD5E2AEE70}" dt="2019-03-22T13:45:10.038" v="1834" actId="20577"/>
        <pc:sldMkLst>
          <pc:docMk/>
          <pc:sldMk cId="2849006509" sldId="789"/>
        </pc:sldMkLst>
      </pc:sldChg>
      <pc:sldChg chg="modSp ord">
        <pc:chgData name="Frechoso, Javier" userId="0727bfb3-dfc8-454a-8991-910803274352" providerId="ADAL" clId="{2666D789-431E-B64A-A60E-D0AD5E2AEE70}" dt="2019-03-22T15:11:35.955" v="1933"/>
        <pc:sldMkLst>
          <pc:docMk/>
          <pc:sldMk cId="445962261" sldId="790"/>
        </pc:sldMkLst>
        <pc:spChg chg="mod">
          <ac:chgData name="Frechoso, Javier" userId="0727bfb3-dfc8-454a-8991-910803274352" providerId="ADAL" clId="{2666D789-431E-B64A-A60E-D0AD5E2AEE70}" dt="2019-03-17T19:14:05.665" v="1420" actId="20577"/>
          <ac:spMkLst>
            <pc:docMk/>
            <pc:sldMk cId="445962261" sldId="790"/>
            <ac:spMk id="2" creationId="{37FCA8EB-1FB9-AA4A-AA07-9D29C513E4BF}"/>
          </ac:spMkLst>
        </pc:spChg>
      </pc:sldChg>
      <pc:sldChg chg="modNotesTx">
        <pc:chgData name="Frechoso, Javier" userId="0727bfb3-dfc8-454a-8991-910803274352" providerId="ADAL" clId="{2666D789-431E-B64A-A60E-D0AD5E2AEE70}" dt="2019-03-22T13:14:39.659" v="1664" actId="20577"/>
        <pc:sldMkLst>
          <pc:docMk/>
          <pc:sldMk cId="2845532891" sldId="793"/>
        </pc:sldMkLst>
      </pc:sldChg>
      <pc:sldChg chg="del modNotesTx">
        <pc:chgData name="Frechoso, Javier" userId="0727bfb3-dfc8-454a-8991-910803274352" providerId="ADAL" clId="{2666D789-431E-B64A-A60E-D0AD5E2AEE70}" dt="2019-03-22T13:14:34.810" v="1663" actId="2696"/>
        <pc:sldMkLst>
          <pc:docMk/>
          <pc:sldMk cId="616756550" sldId="795"/>
        </pc:sldMkLst>
      </pc:sldChg>
      <pc:sldChg chg="modNotesTx">
        <pc:chgData name="Frechoso, Javier" userId="0727bfb3-dfc8-454a-8991-910803274352" providerId="ADAL" clId="{2666D789-431E-B64A-A60E-D0AD5E2AEE70}" dt="2019-03-22T13:44:44.618" v="1803" actId="20577"/>
        <pc:sldMkLst>
          <pc:docMk/>
          <pc:sldMk cId="854572277" sldId="799"/>
        </pc:sldMkLst>
      </pc:sldChg>
      <pc:sldChg chg="modNotesTx">
        <pc:chgData name="Frechoso, Javier" userId="0727bfb3-dfc8-454a-8991-910803274352" providerId="ADAL" clId="{2666D789-431E-B64A-A60E-D0AD5E2AEE70}" dt="2019-03-22T13:44:39.676" v="1792" actId="20577"/>
        <pc:sldMkLst>
          <pc:docMk/>
          <pc:sldMk cId="2784490215" sldId="802"/>
        </pc:sldMkLst>
      </pc:sldChg>
      <pc:sldChg chg="modNotesTx">
        <pc:chgData name="Frechoso, Javier" userId="0727bfb3-dfc8-454a-8991-910803274352" providerId="ADAL" clId="{2666D789-431E-B64A-A60E-D0AD5E2AEE70}" dt="2019-03-22T13:44:36.299" v="1788" actId="20577"/>
        <pc:sldMkLst>
          <pc:docMk/>
          <pc:sldMk cId="1891285891" sldId="803"/>
        </pc:sldMkLst>
      </pc:sldChg>
      <pc:sldChg chg="modSp setBg modNotesTx">
        <pc:chgData name="Frechoso, Javier" userId="0727bfb3-dfc8-454a-8991-910803274352" providerId="ADAL" clId="{2666D789-431E-B64A-A60E-D0AD5E2AEE70}" dt="2019-03-22T13:44:17.333" v="1780" actId="20577"/>
        <pc:sldMkLst>
          <pc:docMk/>
          <pc:sldMk cId="480077938" sldId="806"/>
        </pc:sldMkLst>
        <pc:picChg chg="mod">
          <ac:chgData name="Frechoso, Javier" userId="0727bfb3-dfc8-454a-8991-910803274352" providerId="ADAL" clId="{2666D789-431E-B64A-A60E-D0AD5E2AEE70}" dt="2019-03-12T22:56:04.677" v="2" actId="1076"/>
          <ac:picMkLst>
            <pc:docMk/>
            <pc:sldMk cId="480077938" sldId="806"/>
            <ac:picMk id="11" creationId="{52AB68AA-4430-D54D-9678-F47C5B44533A}"/>
          </ac:picMkLst>
        </pc:picChg>
      </pc:sldChg>
      <pc:sldChg chg="modSp modNotesTx">
        <pc:chgData name="Frechoso, Javier" userId="0727bfb3-dfc8-454a-8991-910803274352" providerId="ADAL" clId="{2666D789-431E-B64A-A60E-D0AD5E2AEE70}" dt="2019-03-22T15:16:29.697" v="1939" actId="20577"/>
        <pc:sldMkLst>
          <pc:docMk/>
          <pc:sldMk cId="657336376" sldId="807"/>
        </pc:sldMkLst>
        <pc:spChg chg="mod">
          <ac:chgData name="Frechoso, Javier" userId="0727bfb3-dfc8-454a-8991-910803274352" providerId="ADAL" clId="{2666D789-431E-B64A-A60E-D0AD5E2AEE70}" dt="2019-03-22T15:11:06.057" v="1930" actId="113"/>
          <ac:spMkLst>
            <pc:docMk/>
            <pc:sldMk cId="657336376" sldId="807"/>
            <ac:spMk id="7" creationId="{1E6C1F28-DFAF-A24D-B9F8-FB483E914727}"/>
          </ac:spMkLst>
        </pc:spChg>
      </pc:sldChg>
      <pc:sldChg chg="modNotesTx">
        <pc:chgData name="Frechoso, Javier" userId="0727bfb3-dfc8-454a-8991-910803274352" providerId="ADAL" clId="{2666D789-431E-B64A-A60E-D0AD5E2AEE70}" dt="2019-03-22T13:45:13.709" v="1841" actId="20577"/>
        <pc:sldMkLst>
          <pc:docMk/>
          <pc:sldMk cId="1109789744" sldId="808"/>
        </pc:sldMkLst>
      </pc:sldChg>
      <pc:sldChg chg="modNotesTx">
        <pc:chgData name="Frechoso, Javier" userId="0727bfb3-dfc8-454a-8991-910803274352" providerId="ADAL" clId="{2666D789-431E-B64A-A60E-D0AD5E2AEE70}" dt="2019-03-22T13:16:20.253" v="1677" actId="20577"/>
        <pc:sldMkLst>
          <pc:docMk/>
          <pc:sldMk cId="3580205263" sldId="809"/>
        </pc:sldMkLst>
      </pc:sldChg>
      <pc:sldChg chg="modSp add setBg">
        <pc:chgData name="Frechoso, Javier" userId="0727bfb3-dfc8-454a-8991-910803274352" providerId="ADAL" clId="{2666D789-431E-B64A-A60E-D0AD5E2AEE70}" dt="2019-03-22T16:22:03.806" v="2014" actId="1035"/>
        <pc:sldMkLst>
          <pc:docMk/>
          <pc:sldMk cId="3798199481" sldId="811"/>
        </pc:sldMkLst>
        <pc:picChg chg="mod">
          <ac:chgData name="Frechoso, Javier" userId="0727bfb3-dfc8-454a-8991-910803274352" providerId="ADAL" clId="{2666D789-431E-B64A-A60E-D0AD5E2AEE70}" dt="2019-03-22T16:22:03.806" v="2014" actId="1035"/>
          <ac:picMkLst>
            <pc:docMk/>
            <pc:sldMk cId="3798199481" sldId="811"/>
            <ac:picMk id="35" creationId="{D9047AAF-B12D-6548-A8B9-2D9E3A7E4C49}"/>
          </ac:picMkLst>
        </pc:picChg>
      </pc:sldChg>
      <pc:sldChg chg="addSp delSp modSp ord modNotesTx">
        <pc:chgData name="Frechoso, Javier" userId="0727bfb3-dfc8-454a-8991-910803274352" providerId="ADAL" clId="{2666D789-431E-B64A-A60E-D0AD5E2AEE70}" dt="2019-03-22T13:42:43.705" v="1713" actId="20577"/>
        <pc:sldMkLst>
          <pc:docMk/>
          <pc:sldMk cId="538896271" sldId="812"/>
        </pc:sldMkLst>
        <pc:spChg chg="add del">
          <ac:chgData name="Frechoso, Javier" userId="0727bfb3-dfc8-454a-8991-910803274352" providerId="ADAL" clId="{2666D789-431E-B64A-A60E-D0AD5E2AEE70}" dt="2019-03-22T13:10:42.923" v="1608" actId="478"/>
          <ac:spMkLst>
            <pc:docMk/>
            <pc:sldMk cId="538896271" sldId="812"/>
            <ac:spMk id="2" creationId="{3268CCB2-E6F3-42B1-8D7E-777054A95380}"/>
          </ac:spMkLst>
        </pc:spChg>
        <pc:spChg chg="add del mod">
          <ac:chgData name="Frechoso, Javier" userId="0727bfb3-dfc8-454a-8991-910803274352" providerId="ADAL" clId="{2666D789-431E-B64A-A60E-D0AD5E2AEE70}" dt="2019-03-22T13:10:45.981" v="1610" actId="478"/>
          <ac:spMkLst>
            <pc:docMk/>
            <pc:sldMk cId="538896271" sldId="812"/>
            <ac:spMk id="3" creationId="{271F352F-52BE-4C75-98DB-3EDA9D381663}"/>
          </ac:spMkLst>
        </pc:spChg>
      </pc:sldChg>
      <pc:sldChg chg="ord">
        <pc:chgData name="Frechoso, Javier" userId="0727bfb3-dfc8-454a-8991-910803274352" providerId="ADAL" clId="{2666D789-431E-B64A-A60E-D0AD5E2AEE70}" dt="2019-03-22T13:10:18.083" v="1603"/>
        <pc:sldMkLst>
          <pc:docMk/>
          <pc:sldMk cId="234266736" sldId="813"/>
        </pc:sldMkLst>
      </pc:sldChg>
      <pc:sldChg chg="modNotesTx">
        <pc:chgData name="Frechoso, Javier" userId="0727bfb3-dfc8-454a-8991-910803274352" providerId="ADAL" clId="{2666D789-431E-B64A-A60E-D0AD5E2AEE70}" dt="2019-03-22T13:44:10.704" v="1764" actId="20577"/>
        <pc:sldMkLst>
          <pc:docMk/>
          <pc:sldMk cId="1203957946" sldId="814"/>
        </pc:sldMkLst>
      </pc:sldChg>
      <pc:sldChg chg="modNotesTx">
        <pc:chgData name="Frechoso, Javier" userId="0727bfb3-dfc8-454a-8991-910803274352" providerId="ADAL" clId="{2666D789-431E-B64A-A60E-D0AD5E2AEE70}" dt="2019-03-22T13:44:07.279" v="1756" actId="20577"/>
        <pc:sldMkLst>
          <pc:docMk/>
          <pc:sldMk cId="1500912337" sldId="815"/>
        </pc:sldMkLst>
      </pc:sldChg>
      <pc:sldChg chg="modSp modNotesTx">
        <pc:chgData name="Frechoso, Javier" userId="0727bfb3-dfc8-454a-8991-910803274352" providerId="ADAL" clId="{2666D789-431E-B64A-A60E-D0AD5E2AEE70}" dt="2019-03-22T13:44:52.779" v="1814" actId="20577"/>
        <pc:sldMkLst>
          <pc:docMk/>
          <pc:sldMk cId="1308012656" sldId="816"/>
        </pc:sldMkLst>
        <pc:spChg chg="mod">
          <ac:chgData name="Frechoso, Javier" userId="0727bfb3-dfc8-454a-8991-910803274352" providerId="ADAL" clId="{2666D789-431E-B64A-A60E-D0AD5E2AEE70}" dt="2019-03-22T13:42:27.368" v="1701" actId="20577"/>
          <ac:spMkLst>
            <pc:docMk/>
            <pc:sldMk cId="1308012656" sldId="816"/>
            <ac:spMk id="7" creationId="{56A2D435-C9ED-D340-B141-08A51670BB94}"/>
          </ac:spMkLst>
        </pc:spChg>
      </pc:sldChg>
      <pc:sldChg chg="modNotesTx">
        <pc:chgData name="Frechoso, Javier" userId="0727bfb3-dfc8-454a-8991-910803274352" providerId="ADAL" clId="{2666D789-431E-B64A-A60E-D0AD5E2AEE70}" dt="2019-03-22T13:45:01.880" v="1821" actId="20577"/>
        <pc:sldMkLst>
          <pc:docMk/>
          <pc:sldMk cId="4281051055" sldId="817"/>
        </pc:sldMkLst>
      </pc:sldChg>
      <pc:sldChg chg="modNotesTx">
        <pc:chgData name="Frechoso, Javier" userId="0727bfb3-dfc8-454a-8991-910803274352" providerId="ADAL" clId="{2666D789-431E-B64A-A60E-D0AD5E2AEE70}" dt="2019-03-22T13:43:30.118" v="1741" actId="20577"/>
        <pc:sldMkLst>
          <pc:docMk/>
          <pc:sldMk cId="2985459688" sldId="818"/>
        </pc:sldMkLst>
      </pc:sldChg>
      <pc:sldMasterChg chg="addSldLayout delSldLayout">
        <pc:chgData name="Frechoso, Javier" userId="0727bfb3-dfc8-454a-8991-910803274352" providerId="ADAL" clId="{2666D789-431E-B64A-A60E-D0AD5E2AEE70}" dt="2019-03-22T16:19:30.276" v="2013" actId="2696"/>
        <pc:sldMasterMkLst>
          <pc:docMk/>
          <pc:sldMasterMk cId="4061823467" sldId="2147484760"/>
        </pc:sldMasterMkLst>
        <pc:sldLayoutChg chg="add del">
          <pc:chgData name="Frechoso, Javier" userId="0727bfb3-dfc8-454a-8991-910803274352" providerId="ADAL" clId="{2666D789-431E-B64A-A60E-D0AD5E2AEE70}" dt="2019-03-22T16:19:30.276" v="2013" actId="2696"/>
          <pc:sldLayoutMkLst>
            <pc:docMk/>
            <pc:sldMasterMk cId="4061823467" sldId="2147484760"/>
            <pc:sldLayoutMk cId="1531257576" sldId="2147484978"/>
          </pc:sldLayoutMkLst>
        </pc:sldLayoutChg>
      </pc:sldMasterChg>
    </pc:docChg>
  </pc:docChgLst>
  <pc:docChgLst>
    <pc:chgData name="Cancer, Jorge" userId="S::jorge.cancer@adidas.com::92ca6ae6-4cee-448c-a56a-076f3dcc8be8" providerId="AD" clId="Web-{7AE9706A-D399-4D2C-8573-5C83181FB783}"/>
    <pc:docChg chg="addSld delSld modSld modSection">
      <pc:chgData name="Cancer, Jorge" userId="S::jorge.cancer@adidas.com::92ca6ae6-4cee-448c-a56a-076f3dcc8be8" providerId="AD" clId="Web-{7AE9706A-D399-4D2C-8573-5C83181FB783}" dt="2019-03-15T21:39:54.350" v="19"/>
      <pc:docMkLst>
        <pc:docMk/>
      </pc:docMkLst>
    </pc:docChg>
  </pc:docChgLst>
  <pc:docChgLst>
    <pc:chgData name="Sanz, Alberto" userId="S::alberto.sanz@adidas.com::08d307b2-0e40-49ad-822b-27df6d75e0fa" providerId="AD" clId="Web-{0FF97B32-FA8B-82D1-18E6-1526E8A2AFAB}"/>
    <pc:docChg chg="modSld">
      <pc:chgData name="Sanz, Alberto" userId="S::alberto.sanz@adidas.com::08d307b2-0e40-49ad-822b-27df6d75e0fa" providerId="AD" clId="Web-{0FF97B32-FA8B-82D1-18E6-1526E8A2AFAB}" dt="2019-03-20T15:05:59.078" v="13" actId="20577"/>
      <pc:docMkLst>
        <pc:docMk/>
      </pc:docMkLst>
    </pc:docChg>
  </pc:docChgLst>
  <pc:docChgLst>
    <pc:chgData name="Cornago, Fernando" userId="048a41c0-cb7a-447c-b2ac-f7c7348706e9" providerId="ADAL" clId="{EC873775-63E3-F745-86AD-FE1173B5F5A9}"/>
    <pc:docChg chg="undo custSel addSld delSld modSld sldOrd modSection">
      <pc:chgData name="Cornago, Fernando" userId="048a41c0-cb7a-447c-b2ac-f7c7348706e9" providerId="ADAL" clId="{EC873775-63E3-F745-86AD-FE1173B5F5A9}" dt="2019-03-22T09:26:57.966" v="430" actId="20577"/>
      <pc:docMkLst>
        <pc:docMk/>
      </pc:docMkLst>
      <pc:sldChg chg="del">
        <pc:chgData name="Cornago, Fernando" userId="048a41c0-cb7a-447c-b2ac-f7c7348706e9" providerId="ADAL" clId="{EC873775-63E3-F745-86AD-FE1173B5F5A9}" dt="2019-03-22T09:19:22.562" v="414" actId="2696"/>
        <pc:sldMkLst>
          <pc:docMk/>
          <pc:sldMk cId="2121623704" sldId="418"/>
        </pc:sldMkLst>
      </pc:sldChg>
      <pc:sldChg chg="ord">
        <pc:chgData name="Cornago, Fernando" userId="048a41c0-cb7a-447c-b2ac-f7c7348706e9" providerId="ADAL" clId="{EC873775-63E3-F745-86AD-FE1173B5F5A9}" dt="2019-03-22T09:19:20.305" v="413"/>
        <pc:sldMkLst>
          <pc:docMk/>
          <pc:sldMk cId="3431274460" sldId="511"/>
        </pc:sldMkLst>
      </pc:sldChg>
      <pc:sldChg chg="addSp delSp modSp modAnim">
        <pc:chgData name="Cornago, Fernando" userId="048a41c0-cb7a-447c-b2ac-f7c7348706e9" providerId="ADAL" clId="{EC873775-63E3-F745-86AD-FE1173B5F5A9}" dt="2019-03-22T09:19:00.039" v="412"/>
        <pc:sldMkLst>
          <pc:docMk/>
          <pc:sldMk cId="445962261" sldId="790"/>
        </pc:sldMkLst>
        <pc:spChg chg="del">
          <ac:chgData name="Cornago, Fernando" userId="048a41c0-cb7a-447c-b2ac-f7c7348706e9" providerId="ADAL" clId="{EC873775-63E3-F745-86AD-FE1173B5F5A9}" dt="2019-03-22T09:17:33.554" v="403" actId="478"/>
          <ac:spMkLst>
            <pc:docMk/>
            <pc:sldMk cId="445962261" sldId="790"/>
            <ac:spMk id="2" creationId="{37FCA8EB-1FB9-AA4A-AA07-9D29C513E4BF}"/>
          </ac:spMkLst>
        </pc:spChg>
        <pc:spChg chg="add del mod">
          <ac:chgData name="Cornago, Fernando" userId="048a41c0-cb7a-447c-b2ac-f7c7348706e9" providerId="ADAL" clId="{EC873775-63E3-F745-86AD-FE1173B5F5A9}" dt="2019-03-22T09:17:36.473" v="404" actId="478"/>
          <ac:spMkLst>
            <pc:docMk/>
            <pc:sldMk cId="445962261" sldId="790"/>
            <ac:spMk id="8" creationId="{87BD72C1-0C7D-0848-8DD6-E736456845EB}"/>
          </ac:spMkLst>
        </pc:spChg>
        <pc:spChg chg="add mod">
          <ac:chgData name="Cornago, Fernando" userId="048a41c0-cb7a-447c-b2ac-f7c7348706e9" providerId="ADAL" clId="{EC873775-63E3-F745-86AD-FE1173B5F5A9}" dt="2019-03-22T09:18:40.726" v="409" actId="171"/>
          <ac:spMkLst>
            <pc:docMk/>
            <pc:sldMk cId="445962261" sldId="790"/>
            <ac:spMk id="9" creationId="{FA77451F-F926-C04D-BE57-8ACA097F3260}"/>
          </ac:spMkLst>
        </pc:spChg>
        <pc:picChg chg="add mod">
          <ac:chgData name="Cornago, Fernando" userId="048a41c0-cb7a-447c-b2ac-f7c7348706e9" providerId="ADAL" clId="{EC873775-63E3-F745-86AD-FE1173B5F5A9}" dt="2019-03-22T09:17:54.558" v="407" actId="1076"/>
          <ac:picMkLst>
            <pc:docMk/>
            <pc:sldMk cId="445962261" sldId="790"/>
            <ac:picMk id="6" creationId="{BCD938F0-74B0-134D-9495-696426926E10}"/>
          </ac:picMkLst>
        </pc:picChg>
      </pc:sldChg>
      <pc:sldChg chg="addSp delSp modSp add">
        <pc:chgData name="Cornago, Fernando" userId="048a41c0-cb7a-447c-b2ac-f7c7348706e9" providerId="ADAL" clId="{EC873775-63E3-F745-86AD-FE1173B5F5A9}" dt="2019-03-22T09:26:57.966" v="430" actId="20577"/>
        <pc:sldMkLst>
          <pc:docMk/>
          <pc:sldMk cId="3580205263" sldId="809"/>
        </pc:sldMkLst>
        <pc:spChg chg="add del mod">
          <ac:chgData name="Cornago, Fernando" userId="048a41c0-cb7a-447c-b2ac-f7c7348706e9" providerId="ADAL" clId="{EC873775-63E3-F745-86AD-FE1173B5F5A9}" dt="2019-03-21T17:58:19.495" v="391"/>
          <ac:spMkLst>
            <pc:docMk/>
            <pc:sldMk cId="3580205263" sldId="809"/>
            <ac:spMk id="2" creationId="{8DB43108-5119-3C4C-9658-016597E0CEB8}"/>
          </ac:spMkLst>
        </pc:spChg>
        <pc:spChg chg="add del mod">
          <ac:chgData name="Cornago, Fernando" userId="048a41c0-cb7a-447c-b2ac-f7c7348706e9" providerId="ADAL" clId="{EC873775-63E3-F745-86AD-FE1173B5F5A9}" dt="2019-03-22T09:26:37.620" v="424" actId="20577"/>
          <ac:spMkLst>
            <pc:docMk/>
            <pc:sldMk cId="3580205263" sldId="809"/>
            <ac:spMk id="47" creationId="{2B16D902-16EA-214A-89D5-AD62F88F8860}"/>
          </ac:spMkLst>
        </pc:spChg>
        <pc:spChg chg="mod">
          <ac:chgData name="Cornago, Fernando" userId="048a41c0-cb7a-447c-b2ac-f7c7348706e9" providerId="ADAL" clId="{EC873775-63E3-F745-86AD-FE1173B5F5A9}" dt="2019-03-22T09:26:57.966" v="430" actId="20577"/>
          <ac:spMkLst>
            <pc:docMk/>
            <pc:sldMk cId="3580205263" sldId="809"/>
            <ac:spMk id="67" creationId="{D7929E3B-04B5-C24B-9564-58DA629021DE}"/>
          </ac:spMkLst>
        </pc:spChg>
      </pc:sldChg>
      <pc:sldMasterChg chg="delSldLayout">
        <pc:chgData name="Cornago, Fernando" userId="048a41c0-cb7a-447c-b2ac-f7c7348706e9" providerId="ADAL" clId="{EC873775-63E3-F745-86AD-FE1173B5F5A9}" dt="2019-03-22T09:19:22.566" v="415" actId="2696"/>
        <pc:sldMasterMkLst>
          <pc:docMk/>
          <pc:sldMasterMk cId="4061823467" sldId="2147484760"/>
        </pc:sldMasterMkLst>
        <pc:sldLayoutChg chg="del">
          <pc:chgData name="Cornago, Fernando" userId="048a41c0-cb7a-447c-b2ac-f7c7348706e9" providerId="ADAL" clId="{EC873775-63E3-F745-86AD-FE1173B5F5A9}" dt="2019-03-22T09:19:22.566" v="415" actId="2696"/>
          <pc:sldLayoutMkLst>
            <pc:docMk/>
            <pc:sldMasterMk cId="4061823467" sldId="2147484760"/>
            <pc:sldLayoutMk cId="1657434417" sldId="2147484976"/>
          </pc:sldLayoutMkLst>
        </pc:sldLayoutChg>
      </pc:sldMasterChg>
    </pc:docChg>
  </pc:docChgLst>
  <pc:docChgLst>
    <pc:chgData name="Cancer, Jorge" userId="S::jorge.cancer@adidas.com::92ca6ae6-4cee-448c-a56a-076f3dcc8be8" providerId="AD" clId="Web-{969CEEEE-DA0E-1DCB-7A96-66B53B8F7A14}"/>
    <pc:docChg chg="addSld delSld modSld sldOrd modSection">
      <pc:chgData name="Cancer, Jorge" userId="S::jorge.cancer@adidas.com::92ca6ae6-4cee-448c-a56a-076f3dcc8be8" providerId="AD" clId="Web-{969CEEEE-DA0E-1DCB-7A96-66B53B8F7A14}" dt="2019-03-21T09:22:18.287" v="30"/>
      <pc:docMkLst>
        <pc:docMk/>
      </pc:docMkLst>
    </pc:docChg>
  </pc:docChgLst>
  <pc:docChgLst>
    <pc:chgData name="Sanz, Alberto" userId="S::alberto.sanz@adidas.com::08d307b2-0e40-49ad-822b-27df6d75e0fa" providerId="AD" clId="Web-{2EE9AB37-D105-66E8-D00D-FC55DFC4ED4D}"/>
    <pc:docChg chg="modSld">
      <pc:chgData name="Sanz, Alberto" userId="S::alberto.sanz@adidas.com::08d307b2-0e40-49ad-822b-27df6d75e0fa" providerId="AD" clId="Web-{2EE9AB37-D105-66E8-D00D-FC55DFC4ED4D}" dt="2019-03-22T10:12:32.504" v="38" actId="20577"/>
      <pc:docMkLst>
        <pc:docMk/>
      </pc:docMkLst>
      <pc:sldChg chg="modSp">
        <pc:chgData name="Sanz, Alberto" userId="S::alberto.sanz@adidas.com::08d307b2-0e40-49ad-822b-27df6d75e0fa" providerId="AD" clId="Web-{2EE9AB37-D105-66E8-D00D-FC55DFC4ED4D}" dt="2019-03-22T10:12:30.816" v="36" actId="20577"/>
        <pc:sldMkLst>
          <pc:docMk/>
          <pc:sldMk cId="3244467801" sldId="746"/>
        </pc:sldMkLst>
        <pc:spChg chg="mod">
          <ac:chgData name="Sanz, Alberto" userId="S::alberto.sanz@adidas.com::08d307b2-0e40-49ad-822b-27df6d75e0fa" providerId="AD" clId="Web-{2EE9AB37-D105-66E8-D00D-FC55DFC4ED4D}" dt="2019-03-22T10:12:28.113" v="34" actId="20577"/>
          <ac:spMkLst>
            <pc:docMk/>
            <pc:sldMk cId="3244467801" sldId="746"/>
            <ac:spMk id="6" creationId="{EA93FDD8-5F28-8B43-A6D9-8AD143C0F6ED}"/>
          </ac:spMkLst>
        </pc:spChg>
        <pc:spChg chg="mod">
          <ac:chgData name="Sanz, Alberto" userId="S::alberto.sanz@adidas.com::08d307b2-0e40-49ad-822b-27df6d75e0fa" providerId="AD" clId="Web-{2EE9AB37-D105-66E8-D00D-FC55DFC4ED4D}" dt="2019-03-22T10:12:30.816" v="36" actId="20577"/>
          <ac:spMkLst>
            <pc:docMk/>
            <pc:sldMk cId="3244467801" sldId="746"/>
            <ac:spMk id="7" creationId="{6A569B09-1D93-9940-B50E-077EFE5A54D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31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04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3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579E7-A216-7943-B739-2EE41F1A2C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7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52056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2663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9842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5278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40673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9803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2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9200135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9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6824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561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184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178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4965237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8912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089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28083568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32499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9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06904285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7646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710165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074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088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02074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1115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80723929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3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22572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65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521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74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6657275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33303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3350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89204456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513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2972218" cy="1209781"/>
          </a:xfrm>
        </p:spPr>
        <p:txBody>
          <a:bodyPr anchor="b">
            <a:noAutofit/>
          </a:bodyPr>
          <a:lstStyle>
            <a:lvl1pPr>
              <a:defRPr sz="302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7762" y="533753"/>
            <a:ext cx="4665315" cy="4282240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9977" y="1733059"/>
            <a:ext cx="2972218" cy="3072459"/>
          </a:xfrm>
        </p:spPr>
        <p:txBody>
          <a:bodyPr>
            <a:normAutofit/>
          </a:bodyPr>
          <a:lstStyle>
            <a:lvl1pPr marL="0" indent="0">
              <a:buNone/>
              <a:defRPr sz="2117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317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2995758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latinLnBrk="0">
              <a:defRPr lang="es-ES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51029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151029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725247" y="1440215"/>
            <a:ext cx="3339162" cy="576086"/>
          </a:xfrm>
        </p:spPr>
        <p:txBody>
          <a:bodyPr anchor="ctr">
            <a:noAutofit/>
          </a:bodyPr>
          <a:lstStyle>
            <a:lvl1pPr marL="0" indent="0" latinLnBrk="0">
              <a:spcBef>
                <a:spcPts val="0"/>
              </a:spcBef>
              <a:buNone/>
              <a:defRPr lang="es-ES" sz="1512" b="0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512" b="1"/>
            </a:lvl2pPr>
            <a:lvl3pPr marL="691195" indent="0" latinLnBrk="0">
              <a:buNone/>
              <a:defRPr lang="es-ES" sz="1361" b="1"/>
            </a:lvl3pPr>
            <a:lvl4pPr marL="1036792" indent="0" latinLnBrk="0">
              <a:buNone/>
              <a:defRPr lang="es-ES" sz="1209" b="1"/>
            </a:lvl4pPr>
            <a:lvl5pPr marL="1382390" indent="0" latinLnBrk="0">
              <a:buNone/>
              <a:defRPr lang="es-ES" sz="1209" b="1"/>
            </a:lvl5pPr>
            <a:lvl6pPr marL="1727987" indent="0" latinLnBrk="0">
              <a:buNone/>
              <a:defRPr lang="es-ES" sz="1209" b="1"/>
            </a:lvl6pPr>
            <a:lvl7pPr marL="2073585" indent="0" latinLnBrk="0">
              <a:buNone/>
              <a:defRPr lang="es-ES" sz="1209" b="1"/>
            </a:lvl7pPr>
            <a:lvl8pPr marL="2419182" indent="0" latinLnBrk="0">
              <a:buNone/>
              <a:defRPr lang="es-ES" sz="1209" b="1"/>
            </a:lvl8pPr>
            <a:lvl9pPr marL="2764780" indent="0" latinLnBrk="0">
              <a:buNone/>
              <a:defRPr lang="es-ES" sz="1209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725247" y="2073911"/>
            <a:ext cx="3339162" cy="2477170"/>
          </a:xfrm>
        </p:spPr>
        <p:txBody>
          <a:bodyPr>
            <a:normAutofit/>
          </a:bodyPr>
          <a:lstStyle>
            <a:lvl1pPr latinLnBrk="0">
              <a:defRPr lang="es-ES" sz="1814"/>
            </a:lvl1pPr>
            <a:lvl2pPr latinLnBrk="0">
              <a:defRPr lang="es-ES" sz="1512"/>
            </a:lvl2pPr>
            <a:lvl3pPr latinLnBrk="0">
              <a:defRPr lang="es-ES" sz="1361"/>
            </a:lvl3pPr>
            <a:lvl4pPr latinLnBrk="0">
              <a:defRPr lang="es-ES" sz="1209"/>
            </a:lvl4pPr>
            <a:lvl5pPr latinLnBrk="0">
              <a:defRPr lang="es-ES" sz="1209"/>
            </a:lvl5pPr>
            <a:lvl6pPr latinLnBrk="0">
              <a:defRPr lang="es-ES" sz="1209"/>
            </a:lvl6pPr>
            <a:lvl7pPr latinLnBrk="0">
              <a:defRPr lang="es-ES" sz="1209"/>
            </a:lvl7pPr>
            <a:lvl8pPr latinLnBrk="0">
              <a:defRPr lang="es-ES" sz="1209"/>
            </a:lvl8pPr>
            <a:lvl9pPr latinLnBrk="0">
              <a:defRPr lang="es-ES" sz="1209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0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1129" y="1901084"/>
            <a:ext cx="6571943" cy="2131519"/>
          </a:xfrm>
        </p:spPr>
        <p:txBody>
          <a:bodyPr anchor="b">
            <a:normAutofit/>
          </a:bodyPr>
          <a:lstStyle>
            <a:lvl1pPr algn="l" latinLnBrk="0">
              <a:lnSpc>
                <a:spcPct val="80000"/>
              </a:lnSpc>
              <a:defRPr lang="es-ES" sz="3628" b="0" cap="none" baseline="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05361" y="4090212"/>
            <a:ext cx="6568113" cy="460870"/>
          </a:xfrm>
        </p:spPr>
        <p:txBody>
          <a:bodyPr anchor="t">
            <a:normAutofit/>
          </a:bodyPr>
          <a:lstStyle>
            <a:lvl1pPr marL="0" indent="0" latinLnBrk="0">
              <a:spcBef>
                <a:spcPts val="0"/>
              </a:spcBef>
              <a:buNone/>
              <a:defRPr lang="es-ES" sz="1512" cap="all" spc="151" baseline="0">
                <a:solidFill>
                  <a:schemeClr val="accent1"/>
                </a:solidFill>
              </a:defRPr>
            </a:lvl1pPr>
            <a:lvl2pPr marL="345597" indent="0" latinLnBrk="0">
              <a:buNone/>
              <a:defRPr lang="es-ES" sz="1361">
                <a:solidFill>
                  <a:schemeClr val="tx1">
                    <a:tint val="75000"/>
                  </a:schemeClr>
                </a:solidFill>
              </a:defRPr>
            </a:lvl2pPr>
            <a:lvl3pPr marL="691195" indent="0" latinLnBrk="0">
              <a:buNone/>
              <a:defRPr lang="es-ES" sz="1209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 latinLnBrk="0">
              <a:buNone/>
              <a:defRPr lang="es-ES" sz="10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t>23/03/20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26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367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24884413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959185"/>
      </p:ext>
    </p:extLst>
  </p:cSld>
  <p:clrMapOvr>
    <a:masterClrMapping/>
  </p:clrMapOvr>
  <p:hf hdr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1983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8350446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89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25311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431320"/>
      </p:ext>
    </p:extLst>
  </p:cSld>
  <p:clrMapOvr>
    <a:masterClrMapping/>
  </p:clrMapOvr>
  <p:hf hdr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34566"/>
      </p:ext>
    </p:extLst>
  </p:cSld>
  <p:clrMapOvr>
    <a:masterClrMapping/>
  </p:clrMapOvr>
  <p:hf hdr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5578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6063956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80980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81136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6918245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55D35D9-E607-BF40-B6E5-A51007B8B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5B38B5C-91B3-2642-BA1F-46DC4110E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A5A2344-E2A4-8044-A72E-3F965E49C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28124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F27CD6-2B48-5D4A-A4E2-07F6FC01B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345652"/>
            <a:ext cx="2972218" cy="1209781"/>
          </a:xfrm>
        </p:spPr>
        <p:txBody>
          <a:bodyPr anchor="b"/>
          <a:lstStyle>
            <a:lvl1pPr>
              <a:defRPr sz="2419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43337DE-71E3-4246-80CB-D516575ED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7762" y="746512"/>
            <a:ext cx="4665315" cy="3684551"/>
          </a:xfrm>
        </p:spPr>
        <p:txBody>
          <a:bodyPr/>
          <a:lstStyle>
            <a:lvl1pPr>
              <a:defRPr sz="2419"/>
            </a:lvl1pPr>
            <a:lvl2pPr>
              <a:defRPr sz="2117"/>
            </a:lvl2pPr>
            <a:lvl3pPr>
              <a:defRPr sz="1814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0110611-76D5-7343-982B-AB1AE44F4D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4762" y="1555433"/>
            <a:ext cx="2972218" cy="2881631"/>
          </a:xfrm>
        </p:spPr>
        <p:txBody>
          <a:bodyPr/>
          <a:lstStyle>
            <a:lvl1pPr marL="0" indent="0">
              <a:buNone/>
              <a:defRPr sz="1209"/>
            </a:lvl1pPr>
            <a:lvl2pPr marL="345597" indent="0">
              <a:buNone/>
              <a:defRPr sz="1058"/>
            </a:lvl2pPr>
            <a:lvl3pPr marL="691195" indent="0">
              <a:buNone/>
              <a:defRPr sz="907"/>
            </a:lvl3pPr>
            <a:lvl4pPr marL="1036792" indent="0">
              <a:buNone/>
              <a:defRPr sz="756"/>
            </a:lvl4pPr>
            <a:lvl5pPr marL="1382390" indent="0">
              <a:buNone/>
              <a:defRPr sz="756"/>
            </a:lvl5pPr>
            <a:lvl6pPr marL="1727987" indent="0">
              <a:buNone/>
              <a:defRPr sz="756"/>
            </a:lvl6pPr>
            <a:lvl7pPr marL="2073585" indent="0">
              <a:buNone/>
              <a:defRPr sz="756"/>
            </a:lvl7pPr>
            <a:lvl8pPr marL="2419182" indent="0">
              <a:buNone/>
              <a:defRPr sz="756"/>
            </a:lvl8pPr>
            <a:lvl9pPr marL="2764780" indent="0">
              <a:buNone/>
              <a:defRPr sz="75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0BC62D0-21C8-0B4E-B90C-87071781C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BC3A7A7-E2B5-5F4A-8AA6-992D0B08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46638D9-B529-5141-A031-860B32CE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47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91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9628" y="523278"/>
            <a:ext cx="8416182" cy="592390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 defTabSz="691195">
              <a:defRPr/>
            </a:pPr>
            <a:endParaRPr lang="en-US" sz="907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 defTabSz="691195">
              <a:defRPr/>
            </a:pPr>
            <a:fld id="{75A4F164-3A46-4CEE-A25C-CA523D5E42F3}" type="slidenum">
              <a:rPr lang="en-US" sz="907" b="0" cap="none" smtClean="0">
                <a:latin typeface="adineue PRO TT Light" panose="020B0303020201060004" pitchFamily="34" charset="0"/>
                <a:ea typeface="+mn-ea"/>
                <a:cs typeface="+mn-cs"/>
              </a:rPr>
              <a:pPr algn="r" defTabSz="691195">
                <a:defRPr/>
              </a:pPr>
              <a:t>‹Nº›</a:t>
            </a:fld>
            <a:endParaRPr lang="en-US" sz="907" b="0" cap="none" dirty="0">
              <a:latin typeface="adineue PRO TT Light" panose="020B0303020201060004" pitchFamily="34" charset="0"/>
              <a:ea typeface="+mn-ea"/>
              <a:cs typeface="+mn-cs"/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90265" y="1539831"/>
            <a:ext cx="8416342" cy="3265688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6" y="1116167"/>
            <a:ext cx="8416287" cy="423664"/>
          </a:xfrm>
        </p:spPr>
        <p:txBody>
          <a:bodyPr>
            <a:normAutofit/>
          </a:bodyPr>
          <a:lstStyle>
            <a:lvl1pPr>
              <a:defRPr sz="2419" b="1" i="0" baseline="0">
                <a:solidFill>
                  <a:srgbClr val="006A7F"/>
                </a:solidFill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1258568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89976" y="530725"/>
            <a:ext cx="8398389" cy="540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08525" y="1071550"/>
            <a:ext cx="8398389" cy="408250"/>
          </a:xfrm>
        </p:spPr>
        <p:txBody>
          <a:bodyPr>
            <a:normAutofit/>
          </a:bodyPr>
          <a:lstStyle>
            <a:lvl1pPr marL="0" indent="0">
              <a:buNone/>
              <a:defRPr sz="2419" b="1" baseline="0">
                <a:solidFill>
                  <a:srgbClr val="006A7F"/>
                </a:solidFill>
                <a:latin typeface="adineue PRO TT Light" panose="020B0303020201060004" pitchFamily="34" charset="77"/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11" name="Picture 1"/>
          <p:cNvSpPr>
            <a:spLocks noGrp="1"/>
          </p:cNvSpPr>
          <p:nvPr>
            <p:ph type="pic" sz="quarter" idx="15"/>
          </p:nvPr>
        </p:nvSpPr>
        <p:spPr bwMode="gray">
          <a:xfrm>
            <a:off x="408217" y="1486176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Content 1"/>
          <p:cNvSpPr>
            <a:spLocks noGrp="1"/>
          </p:cNvSpPr>
          <p:nvPr>
            <p:ph sz="half" idx="19"/>
          </p:nvPr>
        </p:nvSpPr>
        <p:spPr>
          <a:xfrm>
            <a:off x="408217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Picture 2"/>
          <p:cNvSpPr>
            <a:spLocks noGrp="1"/>
          </p:cNvSpPr>
          <p:nvPr>
            <p:ph type="pic" sz="quarter" idx="26"/>
          </p:nvPr>
        </p:nvSpPr>
        <p:spPr bwMode="gray">
          <a:xfrm>
            <a:off x="2536389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ontent 2"/>
          <p:cNvSpPr>
            <a:spLocks noGrp="1"/>
          </p:cNvSpPr>
          <p:nvPr>
            <p:ph sz="half" idx="27"/>
          </p:nvPr>
        </p:nvSpPr>
        <p:spPr>
          <a:xfrm>
            <a:off x="2536390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3"/>
          <p:cNvSpPr>
            <a:spLocks noGrp="1"/>
          </p:cNvSpPr>
          <p:nvPr>
            <p:ph type="pic" sz="quarter" idx="28"/>
          </p:nvPr>
        </p:nvSpPr>
        <p:spPr bwMode="gray">
          <a:xfrm>
            <a:off x="4664561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Content 3"/>
          <p:cNvSpPr>
            <a:spLocks noGrp="1"/>
          </p:cNvSpPr>
          <p:nvPr>
            <p:ph sz="half" idx="29"/>
          </p:nvPr>
        </p:nvSpPr>
        <p:spPr>
          <a:xfrm>
            <a:off x="4664562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Picture 4"/>
          <p:cNvSpPr>
            <a:spLocks noGrp="1"/>
          </p:cNvSpPr>
          <p:nvPr>
            <p:ph type="pic" sz="quarter" idx="30"/>
          </p:nvPr>
        </p:nvSpPr>
        <p:spPr bwMode="gray">
          <a:xfrm>
            <a:off x="6792734" y="1484299"/>
            <a:ext cx="2013872" cy="1797683"/>
          </a:xfrm>
          <a:prstGeom prst="hexagon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Content 4"/>
          <p:cNvSpPr>
            <a:spLocks noGrp="1"/>
          </p:cNvSpPr>
          <p:nvPr>
            <p:ph sz="half" idx="31"/>
          </p:nvPr>
        </p:nvSpPr>
        <p:spPr>
          <a:xfrm>
            <a:off x="6792735" y="3385753"/>
            <a:ext cx="2013872" cy="1007017"/>
          </a:xfrm>
        </p:spPr>
        <p:txBody>
          <a:bodyPr/>
          <a:lstStyle>
            <a:lvl1pPr>
              <a:defRPr sz="1209"/>
            </a:lvl1pPr>
            <a:lvl2pPr>
              <a:defRPr sz="1058"/>
            </a:lvl2pPr>
            <a:lvl3pPr>
              <a:defRPr sz="907"/>
            </a:lvl3pPr>
            <a:lvl4pPr>
              <a:defRPr sz="831"/>
            </a:lvl4pPr>
            <a:lvl5pPr>
              <a:defRPr sz="831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3/23/2019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31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1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5F40E6-2BF6-0F4B-8BA1-FA28AE375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762" y="276042"/>
            <a:ext cx="7948315" cy="1002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318E55-3B33-0745-8A40-86BC2CBB30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4762" y="1270990"/>
            <a:ext cx="3898562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503D7A9-FD4D-364E-98EC-BBBC48567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762" y="1893883"/>
            <a:ext cx="3898562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ACA12C7-0945-1B46-9EF1-6FBD54390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65316" y="1270990"/>
            <a:ext cx="3917761" cy="622893"/>
          </a:xfrm>
        </p:spPr>
        <p:txBody>
          <a:bodyPr anchor="b"/>
          <a:lstStyle>
            <a:lvl1pPr marL="0" indent="0">
              <a:buNone/>
              <a:defRPr sz="1814" b="1"/>
            </a:lvl1pPr>
            <a:lvl2pPr marL="345597" indent="0">
              <a:buNone/>
              <a:defRPr sz="1512" b="1"/>
            </a:lvl2pPr>
            <a:lvl3pPr marL="691195" indent="0">
              <a:buNone/>
              <a:defRPr sz="1361" b="1"/>
            </a:lvl3pPr>
            <a:lvl4pPr marL="1036792" indent="0">
              <a:buNone/>
              <a:defRPr sz="1209" b="1"/>
            </a:lvl4pPr>
            <a:lvl5pPr marL="1382390" indent="0">
              <a:buNone/>
              <a:defRPr sz="1209" b="1"/>
            </a:lvl5pPr>
            <a:lvl6pPr marL="1727987" indent="0">
              <a:buNone/>
              <a:defRPr sz="1209" b="1"/>
            </a:lvl6pPr>
            <a:lvl7pPr marL="2073585" indent="0">
              <a:buNone/>
              <a:defRPr sz="1209" b="1"/>
            </a:lvl7pPr>
            <a:lvl8pPr marL="2419182" indent="0">
              <a:buNone/>
              <a:defRPr sz="1209" b="1"/>
            </a:lvl8pPr>
            <a:lvl9pPr marL="2764780" indent="0">
              <a:buNone/>
              <a:defRPr sz="120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8FC6098-ABE4-0C4F-931F-16C79CF71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65316" y="1893883"/>
            <a:ext cx="3917761" cy="27856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4E4CD9D-50E9-AD42-A420-113CF235E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DCBB676-CD34-0342-BECD-2C6BBEA8C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7343410-A074-A444-8A05-5E6AC1BA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05438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01D845-B157-FD49-911B-6515C6E79B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62" y="1292594"/>
            <a:ext cx="7948315" cy="2156722"/>
          </a:xfrm>
        </p:spPr>
        <p:txBody>
          <a:bodyPr anchor="b"/>
          <a:lstStyle>
            <a:lvl1pPr>
              <a:defRPr sz="4535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56CD1CC-ABE4-1F41-8512-58CBAFDD2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762" y="3469719"/>
            <a:ext cx="7948315" cy="1134169"/>
          </a:xfrm>
        </p:spPr>
        <p:txBody>
          <a:bodyPr/>
          <a:lstStyle>
            <a:lvl1pPr marL="0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1pPr>
            <a:lvl2pPr marL="345597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2pPr>
            <a:lvl3pPr marL="691195" indent="0">
              <a:buNone/>
              <a:defRPr sz="1361">
                <a:solidFill>
                  <a:schemeClr val="tx1">
                    <a:tint val="75000"/>
                  </a:schemeClr>
                </a:solidFill>
              </a:defRPr>
            </a:lvl3pPr>
            <a:lvl4pPr marL="103679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4pPr>
            <a:lvl5pPr marL="138239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5pPr>
            <a:lvl6pPr marL="1727987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6pPr>
            <a:lvl7pPr marL="2073585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7pPr>
            <a:lvl8pPr marL="2419182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8pPr>
            <a:lvl9pPr marL="2764780" indent="0">
              <a:buNone/>
              <a:defRPr sz="12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6A6A45-B351-7E48-9F78-01C13AEB4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BACDCD-8202-2341-BB90-81FE9519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85E0B3-631F-7945-B27C-2484B8935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92970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C8E340-39AB-B744-AA9B-E98721F80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134584C-4A56-BB4C-9EDF-99A437658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EE8BE4-94EC-5841-AC28-38EEEB6E2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65D7952-2380-2840-B3F3-F2529EC4F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64DDA3-423A-5940-ABCF-50B7207CA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83674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62824" y="0"/>
            <a:ext cx="3052614" cy="518477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9990 w 10000"/>
              <a:gd name="connsiteY3" fmla="*/ 10000 h 10000"/>
              <a:gd name="connsiteX4" fmla="*/ 0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2000" y="0"/>
                </a:lnTo>
                <a:lnTo>
                  <a:pt x="10000" y="0"/>
                </a:lnTo>
                <a:cubicBezTo>
                  <a:pt x="9997" y="3333"/>
                  <a:pt x="9993" y="6667"/>
                  <a:pt x="9990" y="10000"/>
                </a:cubicBezTo>
                <a:lnTo>
                  <a:pt x="0" y="1000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9215438" cy="518477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ot="0" spcFirstLastPara="0" vert="horz" wrap="square" lIns="69109" tIns="34554" rIns="69109" bIns="3455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61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978" y="550883"/>
            <a:ext cx="8425832" cy="56502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9976" y="1540087"/>
            <a:ext cx="8416631" cy="3265431"/>
          </a:xfrm>
          <a:noFill/>
        </p:spPr>
        <p:txBody>
          <a:bodyPr>
            <a:normAutofit/>
          </a:bodyPr>
          <a:lstStyle>
            <a:lvl1pPr>
              <a:defRPr sz="2117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89978" y="1115911"/>
            <a:ext cx="8425885" cy="424176"/>
          </a:xfrm>
        </p:spPr>
        <p:txBody>
          <a:bodyPr>
            <a:normAutofit/>
          </a:bodyPr>
          <a:lstStyle>
            <a:lvl1pPr>
              <a:defRPr sz="2419" b="1" i="0" baseline="0">
                <a:latin typeface="adineue PRO TT Light" panose="020B0303020201060004" pitchFamily="34" charset="77"/>
                <a:ea typeface="adineue PRO TT Light" panose="020B0303020201060004" pitchFamily="34" charset="77"/>
                <a:cs typeface="adineue PRO TT Light" panose="020B0303020201060004" pitchFamily="34" charset="77"/>
              </a:defRPr>
            </a:lvl1pPr>
          </a:lstStyle>
          <a:p>
            <a:pPr marL="172799" marR="0" lvl="0" indent="-172799" algn="l" defTabSz="691195" rtl="0" eaLnBrk="1" fontAlgn="auto" latinLnBrk="0" hangingPunct="1">
              <a:lnSpc>
                <a:spcPct val="90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</a:t>
            </a:r>
          </a:p>
        </p:txBody>
      </p:sp>
    </p:spTree>
    <p:extLst>
      <p:ext uri="{BB962C8B-B14F-4D97-AF65-F5344CB8AC3E}">
        <p14:creationId xmlns:p14="http://schemas.microsoft.com/office/powerpoint/2010/main" val="36780428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5793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7170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19887921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dro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15438" cy="5184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8598"/>
            <a:ext cx="8448466" cy="566048"/>
          </a:xfrm>
        </p:spPr>
        <p:txBody>
          <a:bodyPr/>
          <a:lstStyle>
            <a:lvl1pPr>
              <a:defRPr baseline="0">
                <a:solidFill>
                  <a:srgbClr val="00A0BF"/>
                </a:solidFill>
              </a:defRPr>
            </a:lvl1pPr>
          </a:lstStyle>
          <a:p>
            <a:r>
              <a:rPr lang="en-US" dirty="0"/>
              <a:t>HEADLINE FOR THE SLIDE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89976" y="1473903"/>
            <a:ext cx="8448467" cy="33316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3600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2DF70A7-803A-4942-8456-7573F947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0FEDC2-FAF3-534A-90C2-E094F99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9C44E0-F615-C843-A60B-ED158CC4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F86EEBC4-C9DB-C840-A36F-22DCF62E9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215438" cy="51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your picture here for backgrou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64793C-0DA7-A24D-861F-D5C30D9B1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4282241"/>
          </a:xfrm>
        </p:spPr>
        <p:txBody>
          <a:bodyPr>
            <a:normAutofit/>
          </a:bodyPr>
          <a:lstStyle>
            <a:lvl1pPr algn="ctr">
              <a:defRPr sz="3780"/>
            </a:lvl1pPr>
          </a:lstStyle>
          <a:p>
            <a:r>
              <a:rPr lang="en-US" dirty="0"/>
              <a:t>ENTER YOUR MESSAGE HERE</a:t>
            </a:r>
          </a:p>
        </p:txBody>
      </p:sp>
    </p:spTree>
    <p:extLst>
      <p:ext uri="{BB962C8B-B14F-4D97-AF65-F5344CB8AC3E}">
        <p14:creationId xmlns:p14="http://schemas.microsoft.com/office/powerpoint/2010/main" val="34545994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6F3D46AF-B388-CF42-863A-380DDCF7A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052614" cy="518477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1899784"/>
            <a:ext cx="3052613" cy="1002150"/>
          </a:xfrm>
          <a:solidFill>
            <a:srgbClr val="006A7F">
              <a:alpha val="70000"/>
            </a:srgbClr>
          </a:solidFill>
          <a:ln w="19050">
            <a:noFill/>
          </a:ln>
        </p:spPr>
        <p:txBody>
          <a:bodyPr/>
          <a:lstStyle>
            <a:lvl1pPr algn="ctr">
              <a:defRPr b="1" i="0">
                <a:solidFill>
                  <a:srgbClr val="FFFFFF"/>
                </a:solidFill>
                <a:latin typeface="adineue PRO TT Black" panose="020B0A03020201060004" pitchFamily="34" charset="77"/>
                <a:ea typeface="adineue PRO TT Black" panose="020B0A03020201060004" pitchFamily="34" charset="77"/>
                <a:cs typeface="adineue PRO TT Black" panose="020B0A03020201060004" pitchFamily="34" charset="77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707120" y="523279"/>
            <a:ext cx="4874757" cy="37711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399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77" y="523278"/>
            <a:ext cx="8448466" cy="5660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59F34-21DE-A743-9960-1D5FAB2BAC43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5D736-9399-F84C-A4D0-FDB9C0F35C47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161" y="1479821"/>
            <a:ext cx="2905801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286963" y="1479821"/>
            <a:ext cx="2839028" cy="33256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5"/>
          </p:nvPr>
        </p:nvSpPr>
        <p:spPr>
          <a:xfrm>
            <a:off x="6125991" y="1479822"/>
            <a:ext cx="2712452" cy="3323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 hasCustomPrompt="1"/>
          </p:nvPr>
        </p:nvSpPr>
        <p:spPr>
          <a:xfrm>
            <a:off x="389976" y="247237"/>
            <a:ext cx="8448467" cy="276042"/>
          </a:xfrm>
        </p:spPr>
        <p:txBody>
          <a:bodyPr/>
          <a:lstStyle>
            <a:lvl1pPr marL="0" indent="0">
              <a:buNone/>
              <a:defRPr baseline="0">
                <a:latin typeface="adineue PRO TT Light" panose="020B0303020201060004" pitchFamily="34" charset="77"/>
              </a:defRPr>
            </a:lvl1pPr>
          </a:lstStyle>
          <a:p>
            <a:r>
              <a:rPr lang="en-US" noProof="1">
                <a:latin typeface="adineue PRO TT Light" panose="020B0303020201060004" pitchFamily="34" charset="77"/>
              </a:rPr>
              <a:t>Enter your key message of the slid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95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-column-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adineue PRO TT Black" panose="020B0A03020201060004" pitchFamily="34" charset="0"/>
              </a:defRPr>
            </a:lvl1pPr>
          </a:lstStyle>
          <a:p>
            <a:r>
              <a:rPr lang="de-DE" dirty="0">
                <a:solidFill>
                  <a:srgbClr val="5BC2E7"/>
                </a:solidFill>
              </a:rPr>
              <a:t>LIST </a:t>
            </a:r>
            <a:r>
              <a:rPr lang="de-DE" dirty="0">
                <a:solidFill>
                  <a:schemeClr val="bg1"/>
                </a:solidFill>
              </a:rPr>
              <a:t>OF ITEM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19" b="0" i="0" baseline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>
              <a:defRPr sz="2117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2pPr>
            <a:lvl3pPr>
              <a:defRPr sz="1814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3pPr>
            <a:lvl4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4pPr>
            <a:lvl5pPr>
              <a:defRPr sz="1512" b="0" i="0">
                <a:solidFill>
                  <a:schemeClr val="bg1"/>
                </a:solidFill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>
          <a:xfrm>
            <a:off x="633561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ED09111A-8E72-4949-9531-B5FCD0E54E68}" type="datetime5">
              <a:rPr lang="es-ES_tradnl" smtClean="0"/>
              <a:t>23-mar-19</a:t>
            </a:fld>
            <a:endParaRPr lang="de-DE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52614" y="4805519"/>
            <a:ext cx="3110210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r>
              <a:rPr lang="en-US" dirty="0"/>
              <a:t>Platform Engineering – Container Orchestration</a:t>
            </a:r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08403" y="4805519"/>
            <a:ext cx="2073474" cy="27604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dineue PRO TT Light" panose="020B0303020201060004" pitchFamily="34" charset="0"/>
              </a:defRPr>
            </a:lvl1pPr>
          </a:lstStyle>
          <a:p>
            <a:fld id="{6B320A92-E253-4F71-A556-A45EF649FC6E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21172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2.xml"/><Relationship Id="rId41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34" Type="http://schemas.openxmlformats.org/officeDocument/2006/relationships/slideLayout" Target="../slideLayouts/slideLayout300.xml"/><Relationship Id="rId42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299.xml"/><Relationship Id="rId38" Type="http://schemas.openxmlformats.org/officeDocument/2006/relationships/slideLayout" Target="../slideLayouts/slideLayout304.xml"/><Relationship Id="rId46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slideLayout" Target="../slideLayouts/slideLayout298.xml"/><Relationship Id="rId37" Type="http://schemas.openxmlformats.org/officeDocument/2006/relationships/slideLayout" Target="../slideLayouts/slideLayout303.xml"/><Relationship Id="rId40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36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slideLayout" Target="../slideLayouts/slideLayout297.xml"/><Relationship Id="rId44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Relationship Id="rId35" Type="http://schemas.openxmlformats.org/officeDocument/2006/relationships/slideLayout" Target="../slideLayouts/slideLayout301.xml"/><Relationship Id="rId43" Type="http://schemas.openxmlformats.org/officeDocument/2006/relationships/slideLayout" Target="../slideLayouts/slideLayout309.xml"/><Relationship Id="rId48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  <p:sldLayoutId id="2147485060" r:id="rId36"/>
    <p:sldLayoutId id="2147485061" r:id="rId37"/>
    <p:sldLayoutId id="2147485062" r:id="rId38"/>
    <p:sldLayoutId id="2147485063" r:id="rId39"/>
    <p:sldLayoutId id="2147485064" r:id="rId40"/>
    <p:sldLayoutId id="2147485065" r:id="rId41"/>
    <p:sldLayoutId id="2147485066" r:id="rId42"/>
    <p:sldLayoutId id="2147485067" r:id="rId43"/>
    <p:sldLayoutId id="2147485068" r:id="rId44"/>
    <p:sldLayoutId id="2147485069" r:id="rId45"/>
    <p:sldLayoutId id="2147485070" r:id="rId46"/>
    <p:sldLayoutId id="2147485071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987" r:id="rId36"/>
    <p:sldLayoutId id="2147485103" r:id="rId37"/>
    <p:sldLayoutId id="2147485104" r:id="rId38"/>
    <p:sldLayoutId id="2147485105" r:id="rId39"/>
    <p:sldLayoutId id="2147485106" r:id="rId40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  <p:sldLayoutId id="2147485096" r:id="rId36"/>
    <p:sldLayoutId id="2147485097" r:id="rId37"/>
    <p:sldLayoutId id="2147485098" r:id="rId38"/>
    <p:sldLayoutId id="2147485099" r:id="rId39"/>
    <p:sldLayoutId id="2147485100" r:id="rId40"/>
    <p:sldLayoutId id="2147485101" r:id="rId41"/>
    <p:sldLayoutId id="2147485102" r:id="rId42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  <p:sldLayoutId id="2147485084" r:id="rId36"/>
    <p:sldLayoutId id="2147485085" r:id="rId37"/>
    <p:sldLayoutId id="2147485086" r:id="rId38"/>
    <p:sldLayoutId id="2147485087" r:id="rId39"/>
    <p:sldLayoutId id="2147485088" r:id="rId40"/>
    <p:sldLayoutId id="2147485089" r:id="rId41"/>
    <p:sldLayoutId id="2147485090" r:id="rId42"/>
    <p:sldLayoutId id="2147485091" r:id="rId43"/>
    <p:sldLayoutId id="2147485092" r:id="rId44"/>
    <p:sldLayoutId id="2147485093" r:id="rId45"/>
    <p:sldLayoutId id="2147485094" r:id="rId46"/>
    <p:sldLayoutId id="2147485095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  <p:sldLayoutId id="2147484988" r:id="rId36"/>
    <p:sldLayoutId id="2147484989" r:id="rId37"/>
    <p:sldLayoutId id="2147484990" r:id="rId38"/>
    <p:sldLayoutId id="2147484991" r:id="rId39"/>
    <p:sldLayoutId id="2147484993" r:id="rId40"/>
    <p:sldLayoutId id="2147484994" r:id="rId41"/>
    <p:sldLayoutId id="2147484995" r:id="rId42"/>
    <p:sldLayoutId id="2147484996" r:id="rId43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3-Ma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59" r:id="rId47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26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33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1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0"/>
            <a:ext cx="9215438" cy="5184775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NO na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b="1" dirty="0"/>
              <a:t>Adidas tech sportS: </a:t>
            </a:r>
            <a:r>
              <a:rPr lang="de-DE" b="1" dirty="0" smtClean="0"/>
              <a:t>“</a:t>
            </a:r>
            <a:r>
              <a:rPr lang="en-US" b="1" dirty="0" smtClean="0"/>
              <a:t>SAYCHEESE</a:t>
            </a:r>
            <a:r>
              <a:rPr lang="en-US" b="1" dirty="0" smtClean="0"/>
              <a:t>”</a:t>
            </a:r>
            <a:r>
              <a:rPr lang="en-US" b="1" u="sng" dirty="0" smtClean="0"/>
              <a:t> </a:t>
            </a:r>
            <a:endParaRPr lang="en-US" b="1" u="sng" dirty="0"/>
          </a:p>
          <a:p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335713" y="865055"/>
            <a:ext cx="1190779" cy="1151334"/>
            <a:chOff x="1340" y="133"/>
            <a:chExt cx="3049" cy="294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583" y="1505"/>
              <a:ext cx="2566" cy="118"/>
            </a:xfrm>
            <a:custGeom>
              <a:avLst/>
              <a:gdLst>
                <a:gd name="T0" fmla="*/ 1087 w 1087"/>
                <a:gd name="T1" fmla="*/ 0 h 50"/>
                <a:gd name="T2" fmla="*/ 1052 w 1087"/>
                <a:gd name="T3" fmla="*/ 50 h 50"/>
                <a:gd name="T4" fmla="*/ 33 w 1087"/>
                <a:gd name="T5" fmla="*/ 50 h 50"/>
                <a:gd name="T6" fmla="*/ 0 w 1087"/>
                <a:gd name="T7" fmla="*/ 0 h 50"/>
                <a:gd name="T8" fmla="*/ 1087 w 108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7" h="50">
                  <a:moveTo>
                    <a:pt x="1087" y="0"/>
                  </a:moveTo>
                  <a:cubicBezTo>
                    <a:pt x="1079" y="16"/>
                    <a:pt x="1065" y="37"/>
                    <a:pt x="1052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25" y="40"/>
                    <a:pt x="7" y="17"/>
                    <a:pt x="0" y="0"/>
                  </a:cubicBezTo>
                  <a:lnTo>
                    <a:pt x="10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760" y="1746"/>
              <a:ext cx="2207" cy="108"/>
            </a:xfrm>
            <a:custGeom>
              <a:avLst/>
              <a:gdLst>
                <a:gd name="T0" fmla="*/ 935 w 935"/>
                <a:gd name="T1" fmla="*/ 0 h 46"/>
                <a:gd name="T2" fmla="*/ 0 w 935"/>
                <a:gd name="T3" fmla="*/ 0 h 46"/>
                <a:gd name="T4" fmla="*/ 48 w 935"/>
                <a:gd name="T5" fmla="*/ 46 h 46"/>
                <a:gd name="T6" fmla="*/ 883 w 935"/>
                <a:gd name="T7" fmla="*/ 46 h 46"/>
                <a:gd name="T8" fmla="*/ 935 w 93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5" h="46">
                  <a:moveTo>
                    <a:pt x="9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8"/>
                    <a:pt x="31" y="34"/>
                    <a:pt x="48" y="46"/>
                  </a:cubicBezTo>
                  <a:cubicBezTo>
                    <a:pt x="883" y="46"/>
                    <a:pt x="883" y="46"/>
                    <a:pt x="883" y="46"/>
                  </a:cubicBezTo>
                  <a:cubicBezTo>
                    <a:pt x="904" y="34"/>
                    <a:pt x="923" y="18"/>
                    <a:pt x="93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072" y="1968"/>
              <a:ext cx="623" cy="250"/>
            </a:xfrm>
            <a:custGeom>
              <a:avLst/>
              <a:gdLst>
                <a:gd name="T0" fmla="*/ 264 w 264"/>
                <a:gd name="T1" fmla="*/ 0 h 106"/>
                <a:gd name="T2" fmla="*/ 7 w 264"/>
                <a:gd name="T3" fmla="*/ 0 h 106"/>
                <a:gd name="T4" fmla="*/ 0 w 264"/>
                <a:gd name="T5" fmla="*/ 106 h 106"/>
                <a:gd name="T6" fmla="*/ 264 w 26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41"/>
                    <a:pt x="0" y="79"/>
                    <a:pt x="0" y="106"/>
                  </a:cubicBezTo>
                  <a:cubicBezTo>
                    <a:pt x="75" y="101"/>
                    <a:pt x="174" y="67"/>
                    <a:pt x="2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20" y="723"/>
              <a:ext cx="1069" cy="669"/>
            </a:xfrm>
            <a:custGeom>
              <a:avLst/>
              <a:gdLst>
                <a:gd name="T0" fmla="*/ 446 w 453"/>
                <a:gd name="T1" fmla="*/ 0 h 284"/>
                <a:gd name="T2" fmla="*/ 52 w 453"/>
                <a:gd name="T3" fmla="*/ 214 h 284"/>
                <a:gd name="T4" fmla="*/ 0 w 453"/>
                <a:gd name="T5" fmla="*/ 284 h 284"/>
                <a:gd name="T6" fmla="*/ 376 w 453"/>
                <a:gd name="T7" fmla="*/ 284 h 284"/>
                <a:gd name="T8" fmla="*/ 446 w 45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46" y="0"/>
                  </a:moveTo>
                  <a:cubicBezTo>
                    <a:pt x="329" y="7"/>
                    <a:pt x="161" y="86"/>
                    <a:pt x="52" y="214"/>
                  </a:cubicBezTo>
                  <a:cubicBezTo>
                    <a:pt x="32" y="237"/>
                    <a:pt x="14" y="260"/>
                    <a:pt x="0" y="284"/>
                  </a:cubicBezTo>
                  <a:cubicBezTo>
                    <a:pt x="376" y="284"/>
                    <a:pt x="376" y="284"/>
                    <a:pt x="376" y="284"/>
                  </a:cubicBezTo>
                  <a:cubicBezTo>
                    <a:pt x="427" y="183"/>
                    <a:pt x="453" y="82"/>
                    <a:pt x="44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31" y="1968"/>
              <a:ext cx="623" cy="250"/>
            </a:xfrm>
            <a:custGeom>
              <a:avLst/>
              <a:gdLst>
                <a:gd name="T0" fmla="*/ 263 w 264"/>
                <a:gd name="T1" fmla="*/ 106 h 106"/>
                <a:gd name="T2" fmla="*/ 259 w 264"/>
                <a:gd name="T3" fmla="*/ 0 h 106"/>
                <a:gd name="T4" fmla="*/ 0 w 264"/>
                <a:gd name="T5" fmla="*/ 0 h 106"/>
                <a:gd name="T6" fmla="*/ 263 w 264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106">
                  <a:moveTo>
                    <a:pt x="263" y="106"/>
                  </a:moveTo>
                  <a:cubicBezTo>
                    <a:pt x="264" y="79"/>
                    <a:pt x="264" y="41"/>
                    <a:pt x="2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67"/>
                    <a:pt x="191" y="101"/>
                    <a:pt x="263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73" y="1968"/>
              <a:ext cx="380" cy="268"/>
            </a:xfrm>
            <a:custGeom>
              <a:avLst/>
              <a:gdLst>
                <a:gd name="T0" fmla="*/ 81 w 161"/>
                <a:gd name="T1" fmla="*/ 114 h 114"/>
                <a:gd name="T2" fmla="*/ 161 w 161"/>
                <a:gd name="T3" fmla="*/ 0 h 114"/>
                <a:gd name="T4" fmla="*/ 0 w 161"/>
                <a:gd name="T5" fmla="*/ 0 h 114"/>
                <a:gd name="T6" fmla="*/ 81 w 16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14">
                  <a:moveTo>
                    <a:pt x="81" y="114"/>
                  </a:moveTo>
                  <a:cubicBezTo>
                    <a:pt x="108" y="86"/>
                    <a:pt x="136" y="48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48"/>
                    <a:pt x="52" y="86"/>
                    <a:pt x="81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342" y="723"/>
              <a:ext cx="1069" cy="669"/>
            </a:xfrm>
            <a:custGeom>
              <a:avLst/>
              <a:gdLst>
                <a:gd name="T0" fmla="*/ 453 w 453"/>
                <a:gd name="T1" fmla="*/ 284 h 284"/>
                <a:gd name="T2" fmla="*/ 401 w 453"/>
                <a:gd name="T3" fmla="*/ 214 h 284"/>
                <a:gd name="T4" fmla="*/ 8 w 453"/>
                <a:gd name="T5" fmla="*/ 0 h 284"/>
                <a:gd name="T6" fmla="*/ 76 w 453"/>
                <a:gd name="T7" fmla="*/ 284 h 284"/>
                <a:gd name="T8" fmla="*/ 453 w 453"/>
                <a:gd name="T9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284">
                  <a:moveTo>
                    <a:pt x="453" y="284"/>
                  </a:moveTo>
                  <a:cubicBezTo>
                    <a:pt x="439" y="260"/>
                    <a:pt x="420" y="237"/>
                    <a:pt x="401" y="214"/>
                  </a:cubicBezTo>
                  <a:cubicBezTo>
                    <a:pt x="292" y="86"/>
                    <a:pt x="123" y="7"/>
                    <a:pt x="8" y="0"/>
                  </a:cubicBezTo>
                  <a:cubicBezTo>
                    <a:pt x="0" y="82"/>
                    <a:pt x="26" y="183"/>
                    <a:pt x="76" y="284"/>
                  </a:cubicBezTo>
                  <a:lnTo>
                    <a:pt x="453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0" y="133"/>
              <a:ext cx="791" cy="1259"/>
            </a:xfrm>
            <a:custGeom>
              <a:avLst/>
              <a:gdLst>
                <a:gd name="T0" fmla="*/ 330 w 335"/>
                <a:gd name="T1" fmla="*/ 534 h 534"/>
                <a:gd name="T2" fmla="*/ 335 w 335"/>
                <a:gd name="T3" fmla="*/ 444 h 534"/>
                <a:gd name="T4" fmla="*/ 167 w 335"/>
                <a:gd name="T5" fmla="*/ 0 h 534"/>
                <a:gd name="T6" fmla="*/ 0 w 335"/>
                <a:gd name="T7" fmla="*/ 444 h 534"/>
                <a:gd name="T8" fmla="*/ 5 w 335"/>
                <a:gd name="T9" fmla="*/ 534 h 534"/>
                <a:gd name="T10" fmla="*/ 330 w 335"/>
                <a:gd name="T11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534">
                  <a:moveTo>
                    <a:pt x="330" y="534"/>
                  </a:moveTo>
                  <a:cubicBezTo>
                    <a:pt x="332" y="505"/>
                    <a:pt x="335" y="477"/>
                    <a:pt x="335" y="444"/>
                  </a:cubicBezTo>
                  <a:cubicBezTo>
                    <a:pt x="335" y="266"/>
                    <a:pt x="255" y="82"/>
                    <a:pt x="167" y="0"/>
                  </a:cubicBezTo>
                  <a:cubicBezTo>
                    <a:pt x="78" y="82"/>
                    <a:pt x="0" y="266"/>
                    <a:pt x="0" y="444"/>
                  </a:cubicBezTo>
                  <a:cubicBezTo>
                    <a:pt x="0" y="477"/>
                    <a:pt x="0" y="505"/>
                    <a:pt x="5" y="534"/>
                  </a:cubicBezTo>
                  <a:lnTo>
                    <a:pt x="330" y="5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3908" y="2548"/>
              <a:ext cx="465" cy="533"/>
            </a:xfrm>
            <a:custGeom>
              <a:avLst/>
              <a:gdLst>
                <a:gd name="T0" fmla="*/ 99 w 197"/>
                <a:gd name="T1" fmla="*/ 226 h 226"/>
                <a:gd name="T2" fmla="*/ 197 w 197"/>
                <a:gd name="T3" fmla="*/ 151 h 226"/>
                <a:gd name="T4" fmla="*/ 141 w 197"/>
                <a:gd name="T5" fmla="*/ 92 h 226"/>
                <a:gd name="T6" fmla="*/ 60 w 197"/>
                <a:gd name="T7" fmla="*/ 61 h 226"/>
                <a:gd name="T8" fmla="*/ 98 w 197"/>
                <a:gd name="T9" fmla="*/ 42 h 226"/>
                <a:gd name="T10" fmla="*/ 134 w 197"/>
                <a:gd name="T11" fmla="*/ 71 h 226"/>
                <a:gd name="T12" fmla="*/ 188 w 197"/>
                <a:gd name="T13" fmla="*/ 71 h 226"/>
                <a:gd name="T14" fmla="*/ 95 w 197"/>
                <a:gd name="T15" fmla="*/ 0 h 226"/>
                <a:gd name="T16" fmla="*/ 5 w 197"/>
                <a:gd name="T17" fmla="*/ 70 h 226"/>
                <a:gd name="T18" fmla="*/ 36 w 197"/>
                <a:gd name="T19" fmla="*/ 123 h 226"/>
                <a:gd name="T20" fmla="*/ 92 w 197"/>
                <a:gd name="T21" fmla="*/ 139 h 226"/>
                <a:gd name="T22" fmla="*/ 139 w 197"/>
                <a:gd name="T23" fmla="*/ 160 h 226"/>
                <a:gd name="T24" fmla="*/ 102 w 197"/>
                <a:gd name="T25" fmla="*/ 186 h 226"/>
                <a:gd name="T26" fmla="*/ 57 w 197"/>
                <a:gd name="T27" fmla="*/ 151 h 226"/>
                <a:gd name="T28" fmla="*/ 0 w 197"/>
                <a:gd name="T29" fmla="*/ 151 h 226"/>
                <a:gd name="T30" fmla="*/ 99 w 197"/>
                <a:gd name="T3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26">
                  <a:moveTo>
                    <a:pt x="99" y="226"/>
                  </a:moveTo>
                  <a:cubicBezTo>
                    <a:pt x="152" y="226"/>
                    <a:pt x="197" y="205"/>
                    <a:pt x="197" y="151"/>
                  </a:cubicBezTo>
                  <a:cubicBezTo>
                    <a:pt x="197" y="121"/>
                    <a:pt x="175" y="100"/>
                    <a:pt x="141" y="92"/>
                  </a:cubicBezTo>
                  <a:cubicBezTo>
                    <a:pt x="105" y="83"/>
                    <a:pt x="60" y="84"/>
                    <a:pt x="60" y="61"/>
                  </a:cubicBezTo>
                  <a:cubicBezTo>
                    <a:pt x="62" y="46"/>
                    <a:pt x="76" y="42"/>
                    <a:pt x="98" y="42"/>
                  </a:cubicBezTo>
                  <a:cubicBezTo>
                    <a:pt x="131" y="42"/>
                    <a:pt x="132" y="60"/>
                    <a:pt x="134" y="71"/>
                  </a:cubicBezTo>
                  <a:cubicBezTo>
                    <a:pt x="188" y="71"/>
                    <a:pt x="188" y="71"/>
                    <a:pt x="188" y="71"/>
                  </a:cubicBezTo>
                  <a:cubicBezTo>
                    <a:pt x="184" y="29"/>
                    <a:pt x="150" y="0"/>
                    <a:pt x="95" y="0"/>
                  </a:cubicBezTo>
                  <a:cubicBezTo>
                    <a:pt x="38" y="0"/>
                    <a:pt x="5" y="31"/>
                    <a:pt x="5" y="70"/>
                  </a:cubicBezTo>
                  <a:cubicBezTo>
                    <a:pt x="5" y="93"/>
                    <a:pt x="17" y="113"/>
                    <a:pt x="36" y="123"/>
                  </a:cubicBezTo>
                  <a:cubicBezTo>
                    <a:pt x="50" y="130"/>
                    <a:pt x="69" y="135"/>
                    <a:pt x="92" y="139"/>
                  </a:cubicBezTo>
                  <a:cubicBezTo>
                    <a:pt x="116" y="141"/>
                    <a:pt x="137" y="143"/>
                    <a:pt x="139" y="160"/>
                  </a:cubicBezTo>
                  <a:cubicBezTo>
                    <a:pt x="139" y="172"/>
                    <a:pt x="127" y="186"/>
                    <a:pt x="102" y="186"/>
                  </a:cubicBezTo>
                  <a:cubicBezTo>
                    <a:pt x="65" y="186"/>
                    <a:pt x="57" y="165"/>
                    <a:pt x="57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96"/>
                    <a:pt x="38" y="226"/>
                    <a:pt x="99" y="2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gray">
            <a:xfrm>
              <a:off x="3311" y="2548"/>
              <a:ext cx="550" cy="533"/>
            </a:xfrm>
            <a:custGeom>
              <a:avLst/>
              <a:gdLst>
                <a:gd name="T0" fmla="*/ 178 w 233"/>
                <a:gd name="T1" fmla="*/ 3 h 226"/>
                <a:gd name="T2" fmla="*/ 178 w 233"/>
                <a:gd name="T3" fmla="*/ 19 h 226"/>
                <a:gd name="T4" fmla="*/ 114 w 233"/>
                <a:gd name="T5" fmla="*/ 0 h 226"/>
                <a:gd name="T6" fmla="*/ 0 w 233"/>
                <a:gd name="T7" fmla="*/ 113 h 226"/>
                <a:gd name="T8" fmla="*/ 114 w 233"/>
                <a:gd name="T9" fmla="*/ 226 h 226"/>
                <a:gd name="T10" fmla="*/ 178 w 233"/>
                <a:gd name="T11" fmla="*/ 207 h 226"/>
                <a:gd name="T12" fmla="*/ 178 w 233"/>
                <a:gd name="T13" fmla="*/ 221 h 226"/>
                <a:gd name="T14" fmla="*/ 233 w 233"/>
                <a:gd name="T15" fmla="*/ 221 h 226"/>
                <a:gd name="T16" fmla="*/ 233 w 233"/>
                <a:gd name="T17" fmla="*/ 3 h 226"/>
                <a:gd name="T18" fmla="*/ 178 w 233"/>
                <a:gd name="T19" fmla="*/ 3 h 226"/>
                <a:gd name="T20" fmla="*/ 117 w 233"/>
                <a:gd name="T21" fmla="*/ 175 h 226"/>
                <a:gd name="T22" fmla="*/ 54 w 233"/>
                <a:gd name="T23" fmla="*/ 113 h 226"/>
                <a:gd name="T24" fmla="*/ 117 w 233"/>
                <a:gd name="T25" fmla="*/ 50 h 226"/>
                <a:gd name="T26" fmla="*/ 178 w 233"/>
                <a:gd name="T27" fmla="*/ 113 h 226"/>
                <a:gd name="T28" fmla="*/ 117 w 233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226">
                  <a:moveTo>
                    <a:pt x="178" y="3"/>
                  </a:moveTo>
                  <a:cubicBezTo>
                    <a:pt x="178" y="19"/>
                    <a:pt x="178" y="19"/>
                    <a:pt x="178" y="19"/>
                  </a:cubicBezTo>
                  <a:cubicBezTo>
                    <a:pt x="160" y="6"/>
                    <a:pt x="139" y="0"/>
                    <a:pt x="114" y="0"/>
                  </a:cubicBezTo>
                  <a:cubicBezTo>
                    <a:pt x="52" y="0"/>
                    <a:pt x="0" y="50"/>
                    <a:pt x="0" y="113"/>
                  </a:cubicBezTo>
                  <a:cubicBezTo>
                    <a:pt x="0" y="175"/>
                    <a:pt x="52" y="226"/>
                    <a:pt x="114" y="226"/>
                  </a:cubicBezTo>
                  <a:cubicBezTo>
                    <a:pt x="139" y="226"/>
                    <a:pt x="160" y="219"/>
                    <a:pt x="178" y="207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33" y="221"/>
                    <a:pt x="233" y="221"/>
                    <a:pt x="233" y="221"/>
                  </a:cubicBezTo>
                  <a:cubicBezTo>
                    <a:pt x="233" y="3"/>
                    <a:pt x="233" y="3"/>
                    <a:pt x="233" y="3"/>
                  </a:cubicBezTo>
                  <a:lnTo>
                    <a:pt x="178" y="3"/>
                  </a:lnTo>
                  <a:close/>
                  <a:moveTo>
                    <a:pt x="117" y="175"/>
                  </a:moveTo>
                  <a:cubicBezTo>
                    <a:pt x="83" y="175"/>
                    <a:pt x="54" y="146"/>
                    <a:pt x="54" y="113"/>
                  </a:cubicBezTo>
                  <a:cubicBezTo>
                    <a:pt x="54" y="79"/>
                    <a:pt x="83" y="50"/>
                    <a:pt x="117" y="50"/>
                  </a:cubicBezTo>
                  <a:cubicBezTo>
                    <a:pt x="150" y="50"/>
                    <a:pt x="178" y="79"/>
                    <a:pt x="178" y="113"/>
                  </a:cubicBezTo>
                  <a:cubicBezTo>
                    <a:pt x="178" y="146"/>
                    <a:pt x="150" y="175"/>
                    <a:pt x="117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2725" y="2378"/>
              <a:ext cx="545" cy="703"/>
            </a:xfrm>
            <a:custGeom>
              <a:avLst/>
              <a:gdLst>
                <a:gd name="T0" fmla="*/ 177 w 231"/>
                <a:gd name="T1" fmla="*/ 0 h 298"/>
                <a:gd name="T2" fmla="*/ 177 w 231"/>
                <a:gd name="T3" fmla="*/ 91 h 298"/>
                <a:gd name="T4" fmla="*/ 113 w 231"/>
                <a:gd name="T5" fmla="*/ 72 h 298"/>
                <a:gd name="T6" fmla="*/ 0 w 231"/>
                <a:gd name="T7" fmla="*/ 185 h 298"/>
                <a:gd name="T8" fmla="*/ 113 w 231"/>
                <a:gd name="T9" fmla="*/ 298 h 298"/>
                <a:gd name="T10" fmla="*/ 177 w 231"/>
                <a:gd name="T11" fmla="*/ 279 h 298"/>
                <a:gd name="T12" fmla="*/ 177 w 231"/>
                <a:gd name="T13" fmla="*/ 293 h 298"/>
                <a:gd name="T14" fmla="*/ 231 w 231"/>
                <a:gd name="T15" fmla="*/ 293 h 298"/>
                <a:gd name="T16" fmla="*/ 231 w 231"/>
                <a:gd name="T17" fmla="*/ 0 h 298"/>
                <a:gd name="T18" fmla="*/ 177 w 231"/>
                <a:gd name="T19" fmla="*/ 0 h 298"/>
                <a:gd name="T20" fmla="*/ 114 w 231"/>
                <a:gd name="T21" fmla="*/ 247 h 298"/>
                <a:gd name="T22" fmla="*/ 52 w 231"/>
                <a:gd name="T23" fmla="*/ 185 h 298"/>
                <a:gd name="T24" fmla="*/ 114 w 231"/>
                <a:gd name="T25" fmla="*/ 122 h 298"/>
                <a:gd name="T26" fmla="*/ 177 w 231"/>
                <a:gd name="T27" fmla="*/ 185 h 298"/>
                <a:gd name="T28" fmla="*/ 114 w 231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" h="298">
                  <a:moveTo>
                    <a:pt x="177" y="0"/>
                  </a:moveTo>
                  <a:cubicBezTo>
                    <a:pt x="177" y="91"/>
                    <a:pt x="177" y="91"/>
                    <a:pt x="177" y="91"/>
                  </a:cubicBezTo>
                  <a:cubicBezTo>
                    <a:pt x="158" y="78"/>
                    <a:pt x="137" y="72"/>
                    <a:pt x="113" y="72"/>
                  </a:cubicBezTo>
                  <a:cubicBezTo>
                    <a:pt x="50" y="72"/>
                    <a:pt x="0" y="122"/>
                    <a:pt x="0" y="185"/>
                  </a:cubicBezTo>
                  <a:cubicBezTo>
                    <a:pt x="0" y="247"/>
                    <a:pt x="50" y="298"/>
                    <a:pt x="113" y="298"/>
                  </a:cubicBezTo>
                  <a:cubicBezTo>
                    <a:pt x="137" y="298"/>
                    <a:pt x="159" y="291"/>
                    <a:pt x="177" y="279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231" y="293"/>
                    <a:pt x="231" y="293"/>
                    <a:pt x="231" y="293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177" y="0"/>
                  </a:lnTo>
                  <a:close/>
                  <a:moveTo>
                    <a:pt x="114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4" y="122"/>
                  </a:cubicBezTo>
                  <a:cubicBezTo>
                    <a:pt x="148" y="122"/>
                    <a:pt x="177" y="151"/>
                    <a:pt x="177" y="185"/>
                  </a:cubicBezTo>
                  <a:cubicBezTo>
                    <a:pt x="177" y="218"/>
                    <a:pt x="148" y="247"/>
                    <a:pt x="114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43" y="2378"/>
              <a:ext cx="128" cy="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543" y="2555"/>
              <a:ext cx="128" cy="5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930" y="2378"/>
              <a:ext cx="552" cy="703"/>
            </a:xfrm>
            <a:custGeom>
              <a:avLst/>
              <a:gdLst>
                <a:gd name="T0" fmla="*/ 179 w 234"/>
                <a:gd name="T1" fmla="*/ 0 h 298"/>
                <a:gd name="T2" fmla="*/ 179 w 234"/>
                <a:gd name="T3" fmla="*/ 91 h 298"/>
                <a:gd name="T4" fmla="*/ 114 w 234"/>
                <a:gd name="T5" fmla="*/ 72 h 298"/>
                <a:gd name="T6" fmla="*/ 0 w 234"/>
                <a:gd name="T7" fmla="*/ 185 h 298"/>
                <a:gd name="T8" fmla="*/ 114 w 234"/>
                <a:gd name="T9" fmla="*/ 298 h 298"/>
                <a:gd name="T10" fmla="*/ 179 w 234"/>
                <a:gd name="T11" fmla="*/ 279 h 298"/>
                <a:gd name="T12" fmla="*/ 179 w 234"/>
                <a:gd name="T13" fmla="*/ 293 h 298"/>
                <a:gd name="T14" fmla="*/ 234 w 234"/>
                <a:gd name="T15" fmla="*/ 293 h 298"/>
                <a:gd name="T16" fmla="*/ 234 w 234"/>
                <a:gd name="T17" fmla="*/ 0 h 298"/>
                <a:gd name="T18" fmla="*/ 179 w 234"/>
                <a:gd name="T19" fmla="*/ 0 h 298"/>
                <a:gd name="T20" fmla="*/ 117 w 234"/>
                <a:gd name="T21" fmla="*/ 247 h 298"/>
                <a:gd name="T22" fmla="*/ 52 w 234"/>
                <a:gd name="T23" fmla="*/ 185 h 298"/>
                <a:gd name="T24" fmla="*/ 117 w 234"/>
                <a:gd name="T25" fmla="*/ 122 h 298"/>
                <a:gd name="T26" fmla="*/ 179 w 234"/>
                <a:gd name="T27" fmla="*/ 185 h 298"/>
                <a:gd name="T28" fmla="*/ 117 w 234"/>
                <a:gd name="T29" fmla="*/ 24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298">
                  <a:moveTo>
                    <a:pt x="179" y="0"/>
                  </a:moveTo>
                  <a:cubicBezTo>
                    <a:pt x="179" y="91"/>
                    <a:pt x="179" y="91"/>
                    <a:pt x="179" y="91"/>
                  </a:cubicBezTo>
                  <a:cubicBezTo>
                    <a:pt x="160" y="78"/>
                    <a:pt x="138" y="72"/>
                    <a:pt x="114" y="72"/>
                  </a:cubicBezTo>
                  <a:cubicBezTo>
                    <a:pt x="52" y="72"/>
                    <a:pt x="0" y="122"/>
                    <a:pt x="0" y="185"/>
                  </a:cubicBezTo>
                  <a:cubicBezTo>
                    <a:pt x="0" y="247"/>
                    <a:pt x="52" y="298"/>
                    <a:pt x="114" y="298"/>
                  </a:cubicBezTo>
                  <a:cubicBezTo>
                    <a:pt x="138" y="298"/>
                    <a:pt x="160" y="291"/>
                    <a:pt x="179" y="279"/>
                  </a:cubicBezTo>
                  <a:cubicBezTo>
                    <a:pt x="179" y="293"/>
                    <a:pt x="179" y="293"/>
                    <a:pt x="179" y="293"/>
                  </a:cubicBezTo>
                  <a:cubicBezTo>
                    <a:pt x="234" y="293"/>
                    <a:pt x="234" y="293"/>
                    <a:pt x="234" y="293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79" y="0"/>
                  </a:lnTo>
                  <a:close/>
                  <a:moveTo>
                    <a:pt x="117" y="247"/>
                  </a:moveTo>
                  <a:cubicBezTo>
                    <a:pt x="81" y="247"/>
                    <a:pt x="52" y="218"/>
                    <a:pt x="52" y="185"/>
                  </a:cubicBezTo>
                  <a:cubicBezTo>
                    <a:pt x="52" y="151"/>
                    <a:pt x="81" y="122"/>
                    <a:pt x="117" y="122"/>
                  </a:cubicBezTo>
                  <a:cubicBezTo>
                    <a:pt x="150" y="122"/>
                    <a:pt x="179" y="151"/>
                    <a:pt x="179" y="185"/>
                  </a:cubicBezTo>
                  <a:cubicBezTo>
                    <a:pt x="179" y="218"/>
                    <a:pt x="150" y="247"/>
                    <a:pt x="11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1340" y="2548"/>
              <a:ext cx="547" cy="533"/>
            </a:xfrm>
            <a:custGeom>
              <a:avLst/>
              <a:gdLst>
                <a:gd name="T0" fmla="*/ 179 w 232"/>
                <a:gd name="T1" fmla="*/ 3 h 226"/>
                <a:gd name="T2" fmla="*/ 179 w 232"/>
                <a:gd name="T3" fmla="*/ 19 h 226"/>
                <a:gd name="T4" fmla="*/ 113 w 232"/>
                <a:gd name="T5" fmla="*/ 0 h 226"/>
                <a:gd name="T6" fmla="*/ 0 w 232"/>
                <a:gd name="T7" fmla="*/ 113 h 226"/>
                <a:gd name="T8" fmla="*/ 113 w 232"/>
                <a:gd name="T9" fmla="*/ 226 h 226"/>
                <a:gd name="T10" fmla="*/ 179 w 232"/>
                <a:gd name="T11" fmla="*/ 207 h 226"/>
                <a:gd name="T12" fmla="*/ 179 w 232"/>
                <a:gd name="T13" fmla="*/ 221 h 226"/>
                <a:gd name="T14" fmla="*/ 232 w 232"/>
                <a:gd name="T15" fmla="*/ 221 h 226"/>
                <a:gd name="T16" fmla="*/ 232 w 232"/>
                <a:gd name="T17" fmla="*/ 3 h 226"/>
                <a:gd name="T18" fmla="*/ 179 w 232"/>
                <a:gd name="T19" fmla="*/ 3 h 226"/>
                <a:gd name="T20" fmla="*/ 114 w 232"/>
                <a:gd name="T21" fmla="*/ 175 h 226"/>
                <a:gd name="T22" fmla="*/ 52 w 232"/>
                <a:gd name="T23" fmla="*/ 113 h 226"/>
                <a:gd name="T24" fmla="*/ 114 w 232"/>
                <a:gd name="T25" fmla="*/ 50 h 226"/>
                <a:gd name="T26" fmla="*/ 179 w 232"/>
                <a:gd name="T27" fmla="*/ 113 h 226"/>
                <a:gd name="T28" fmla="*/ 114 w 232"/>
                <a:gd name="T29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" h="226">
                  <a:moveTo>
                    <a:pt x="179" y="3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60" y="6"/>
                    <a:pt x="137" y="0"/>
                    <a:pt x="113" y="0"/>
                  </a:cubicBez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38" y="226"/>
                    <a:pt x="160" y="219"/>
                    <a:pt x="179" y="207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2" y="3"/>
                    <a:pt x="232" y="3"/>
                    <a:pt x="232" y="3"/>
                  </a:cubicBezTo>
                  <a:lnTo>
                    <a:pt x="179" y="3"/>
                  </a:lnTo>
                  <a:close/>
                  <a:moveTo>
                    <a:pt x="114" y="175"/>
                  </a:moveTo>
                  <a:cubicBezTo>
                    <a:pt x="81" y="175"/>
                    <a:pt x="52" y="146"/>
                    <a:pt x="52" y="113"/>
                  </a:cubicBezTo>
                  <a:cubicBezTo>
                    <a:pt x="52" y="79"/>
                    <a:pt x="81" y="50"/>
                    <a:pt x="114" y="50"/>
                  </a:cubicBezTo>
                  <a:cubicBezTo>
                    <a:pt x="150" y="50"/>
                    <a:pt x="179" y="79"/>
                    <a:pt x="179" y="113"/>
                  </a:cubicBezTo>
                  <a:cubicBezTo>
                    <a:pt x="179" y="146"/>
                    <a:pt x="150" y="175"/>
                    <a:pt x="114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C95F28F2-977C-944F-AA9A-D32215CC92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277444" y="4184471"/>
            <a:ext cx="1498131" cy="49688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681615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" y="545"/>
            <a:ext cx="9211158" cy="51836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80" y="2519275"/>
            <a:ext cx="9209503" cy="15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0884">
              <a:defRPr/>
            </a:pPr>
            <a:r>
              <a:rPr lang="de-DE" sz="9748" kern="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¡</a:t>
            </a:r>
            <a:r>
              <a:rPr lang="de-DE" sz="9748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GRACIAS</a:t>
            </a:r>
            <a:r>
              <a:rPr lang="de-DE" sz="9748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ineue PRO TT Black" panose="020B0A03020201060004" pitchFamily="34" charset="0"/>
              </a:rPr>
              <a:t>!</a:t>
            </a:r>
            <a:endParaRPr lang="en-US" sz="9748" kern="0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ineue PRO TT Black" panose="020B0A0302020106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6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xmlns="" id="{6EA213B2-0A38-1D43-B688-78BDB5EBF0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remember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Get something working (</a:t>
            </a:r>
            <a:r>
              <a:rPr lang="en-US" b="1" dirty="0" err="1"/>
              <a:t>PoC</a:t>
            </a:r>
            <a:r>
              <a:rPr lang="en-US" b="1" dirty="0"/>
              <a:t>)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Use all your technical skills</a:t>
            </a: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ry to create a real business impact  </a:t>
            </a:r>
          </a:p>
          <a:p>
            <a:pPr algn="l"/>
            <a:endParaRPr lang="en-US" b="1" dirty="0"/>
          </a:p>
          <a:p>
            <a:pPr marL="215998" indent="-215998" algn="l">
              <a:buFont typeface="Arial" charset="0"/>
              <a:buChar char="•"/>
            </a:pPr>
            <a:r>
              <a:rPr lang="en-US" b="1" dirty="0"/>
              <a:t>To prepare a nice presentation (recorded demo)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  <a:p>
            <a:pPr marL="215998" indent="-215998" algn="l">
              <a:buFont typeface="Arial" charset="0"/>
              <a:buChar char="•"/>
            </a:pPr>
            <a:endParaRPr lang="en-US" b="1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912858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xmlns="" id="{549F0B80-1E0F-B542-A09F-97C3CFAC48D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ShoW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A STORY THAT OTHERS CAN REMEMB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FIND REAL TANGIBLE VALU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KEEP IT FOCUSE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MAKE THE EXPERIENCE LIVE</a:t>
            </a:r>
          </a:p>
          <a:p>
            <a:pPr>
              <a:lnSpc>
                <a:spcPct val="250000"/>
              </a:lnSpc>
            </a:pPr>
            <a:endParaRPr lang="en-US" b="1" dirty="0">
              <a:solidFill>
                <a:srgbClr val="00A0BF"/>
              </a:solidFill>
              <a:latin typeface="AdihausDIN" charset="0"/>
              <a:ea typeface="AdihausDIN" charset="0"/>
              <a:cs typeface="AdihausD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49021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xmlns="" id="{E451D926-0F2D-F345-9DA7-0043160E074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F7349730-A403-3D41-8A7C-6B67D5B73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>
                <a:solidFill>
                  <a:schemeClr val="accent3"/>
                </a:solidFill>
              </a:rPr>
              <a:t>Judging</a:t>
            </a:r>
            <a:r>
              <a:rPr lang="es-ES" dirty="0">
                <a:solidFill>
                  <a:schemeClr val="accent3"/>
                </a:solidFill>
              </a:rPr>
              <a:t> </a:t>
            </a:r>
            <a:r>
              <a:rPr lang="es-ES" dirty="0" err="1">
                <a:solidFill>
                  <a:schemeClr val="accent3"/>
                </a:solidFill>
              </a:rPr>
              <a:t>criteria</a:t>
            </a:r>
            <a:endParaRPr lang="es-ES" dirty="0">
              <a:solidFill>
                <a:schemeClr val="accent3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F6B645E-BD77-FF41-B062-CF3F39B18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2E34299-5BEA-454C-8EB1-15450370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B86BDC-B817-A04E-873F-2362778EA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56A2D435-C9ED-D340-B141-08A51670BB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TECHNICAL IMPLEMENTATION AND </a:t>
            </a:r>
            <a:r>
              <a:rPr lang="es-ES" b="1" dirty="0"/>
              <a:t>COLLABORATION</a:t>
            </a:r>
            <a:r>
              <a:rPr lang="es-ES" dirty="0"/>
              <a:t> FOR THE USE OF HETEROGENEOUS TECHNOLOGIE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b="1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CONFIDENCE</a:t>
            </a:r>
            <a:r>
              <a:rPr lang="es-ES" dirty="0"/>
              <a:t> TO ADD VALUE AND CREATE A REAL-LIFE BUSINESS IMPACT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EFFECTIVE </a:t>
            </a:r>
            <a:r>
              <a:rPr lang="es-ES" b="1" dirty="0"/>
              <a:t>COMMUNICATION</a:t>
            </a:r>
            <a:r>
              <a:rPr lang="es-ES" dirty="0"/>
              <a:t> AND SUMMARY OF RESULTS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INNOVATION AND </a:t>
            </a:r>
            <a:r>
              <a:rPr lang="es-ES" b="1" dirty="0"/>
              <a:t>CREATIVITY: </a:t>
            </a:r>
            <a:r>
              <a:rPr lang="es-ES" b="1" dirty="0">
                <a:solidFill>
                  <a:schemeClr val="accent4">
                    <a:lumMod val="75000"/>
                  </a:schemeClr>
                </a:solidFill>
              </a:rPr>
              <a:t>25%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09789744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xmlns="" id="{342CA01F-6A77-8443-A6C9-2861BC5F26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5573" r="5573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64F16BD6-709C-0D45-A2E3-E9D5931C1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olidFill>
                  <a:schemeClr val="accent3"/>
                </a:solidFill>
              </a:rPr>
              <a:t>ru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1E230A7-7D9D-064D-AEF2-01A76050C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3-Mar-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B01EB6C-7828-8E43-A956-51D347A1D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61D6F75-9585-D140-85D9-1231212CC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1E6C1F28-DFAF-A24D-B9F8-FB483E914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Only</a:t>
            </a:r>
            <a:r>
              <a:rPr lang="es-ES" dirty="0"/>
              <a:t> </a:t>
            </a:r>
            <a:r>
              <a:rPr lang="es-ES" b="1" dirty="0" err="1"/>
              <a:t>genuine</a:t>
            </a:r>
            <a:r>
              <a:rPr lang="es-ES" b="1" dirty="0"/>
              <a:t> </a:t>
            </a:r>
            <a:r>
              <a:rPr lang="es-ES" b="1" dirty="0" err="1"/>
              <a:t>work</a:t>
            </a:r>
            <a:r>
              <a:rPr lang="es-ES" dirty="0"/>
              <a:t> done </a:t>
            </a:r>
            <a:r>
              <a:rPr lang="es-ES" dirty="0" err="1"/>
              <a:t>along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hackathon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be </a:t>
            </a:r>
            <a:r>
              <a:rPr lang="es-ES" dirty="0" err="1"/>
              <a:t>evaluated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/>
              <a:t>OPEN SOURCE </a:t>
            </a:r>
            <a:r>
              <a:rPr lang="es-ES" dirty="0" err="1"/>
              <a:t>by</a:t>
            </a:r>
            <a:r>
              <a:rPr lang="es-ES" dirty="0"/>
              <a:t> defaul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The</a:t>
            </a:r>
            <a:r>
              <a:rPr lang="es-ES" dirty="0"/>
              <a:t> more </a:t>
            </a:r>
            <a:r>
              <a:rPr lang="es-ES" b="1" dirty="0" err="1"/>
              <a:t>relevant</a:t>
            </a:r>
            <a:r>
              <a:rPr lang="es-ES" dirty="0"/>
              <a:t> to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llenge</a:t>
            </a:r>
            <a:r>
              <a:rPr lang="es-ES" dirty="0"/>
              <a:t> </a:t>
            </a:r>
            <a:r>
              <a:rPr lang="es-ES" dirty="0" err="1"/>
              <a:t>topic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etter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b="1" dirty="0" err="1"/>
              <a:t>All</a:t>
            </a:r>
            <a:r>
              <a:rPr lang="es-ES" b="1" dirty="0"/>
              <a:t> </a:t>
            </a:r>
            <a:r>
              <a:rPr lang="es-ES" b="1" dirty="0" err="1"/>
              <a:t>technical</a:t>
            </a:r>
            <a:r>
              <a:rPr lang="es-ES" b="1" dirty="0"/>
              <a:t> </a:t>
            </a:r>
            <a:r>
              <a:rPr lang="es-ES" b="1" dirty="0" err="1"/>
              <a:t>skills</a:t>
            </a:r>
            <a:r>
              <a:rPr lang="es-ES" b="1" dirty="0"/>
              <a:t> </a:t>
            </a:r>
            <a:r>
              <a:rPr lang="es-ES" dirty="0"/>
              <a:t>are </a:t>
            </a:r>
            <a:r>
              <a:rPr lang="es-ES" dirty="0" err="1"/>
              <a:t>welcome</a:t>
            </a:r>
            <a:endParaRPr lang="es-E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 err="1"/>
              <a:t>Presentations</a:t>
            </a:r>
            <a:r>
              <a:rPr lang="es-ES" b="1" dirty="0"/>
              <a:t>: 6 + 2 + 2</a:t>
            </a:r>
          </a:p>
          <a:p>
            <a:pPr algn="l"/>
            <a:r>
              <a:rPr lang="es-ES" dirty="0"/>
              <a:t>(6 </a:t>
            </a:r>
            <a:r>
              <a:rPr lang="es-ES" dirty="0" err="1"/>
              <a:t>mins</a:t>
            </a:r>
            <a:r>
              <a:rPr lang="es-ES" dirty="0"/>
              <a:t> pitch + 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questions</a:t>
            </a:r>
            <a:r>
              <a:rPr lang="es-ES" dirty="0"/>
              <a:t> + </a:t>
            </a:r>
          </a:p>
          <a:p>
            <a:pPr algn="l"/>
            <a:r>
              <a:rPr lang="es-ES" dirty="0"/>
              <a:t>2 </a:t>
            </a:r>
            <a:r>
              <a:rPr lang="es-ES" dirty="0" err="1"/>
              <a:t>mins</a:t>
            </a:r>
            <a:r>
              <a:rPr lang="es-ES" dirty="0"/>
              <a:t> </a:t>
            </a:r>
            <a:r>
              <a:rPr lang="es-ES" dirty="0" err="1"/>
              <a:t>switching</a:t>
            </a:r>
            <a:r>
              <a:rPr lang="es-ES" dirty="0"/>
              <a:t> </a:t>
            </a:r>
            <a:r>
              <a:rPr lang="es-ES" dirty="0" err="1"/>
              <a:t>teams</a:t>
            </a:r>
            <a:r>
              <a:rPr lang="es-E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733637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94AFB7C5-8F8B-492E-BE23-4B9253EE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20" y="288926"/>
            <a:ext cx="7775179" cy="575468"/>
          </a:xfrm>
        </p:spPr>
        <p:txBody>
          <a:bodyPr/>
          <a:lstStyle/>
          <a:p>
            <a:pPr algn="ctr"/>
            <a:r>
              <a:rPr lang="en-GB" sz="2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dineue TEXT Black"/>
              </a:rPr>
              <a:t>MIEMBROS DEL EQUIPO</a:t>
            </a:r>
            <a:endParaRPr lang="en-GB" sz="2800" b="1" dirty="0">
              <a:solidFill>
                <a:schemeClr val="accent1">
                  <a:lumMod val="60000"/>
                  <a:lumOff val="40000"/>
                </a:schemeClr>
              </a:solidFill>
              <a:latin typeface="adineue TEXT Black"/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47" y="611695"/>
            <a:ext cx="7569352" cy="425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84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EEA2B42A-AE83-4E43-8759-C1C31497E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97"/>
          <a:stretch/>
        </p:blipFill>
        <p:spPr bwMode="auto">
          <a:xfrm>
            <a:off x="1" y="5137"/>
            <a:ext cx="9233765" cy="517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>
            <a:extLst>
              <a:ext uri="{FF2B5EF4-FFF2-40B4-BE49-F238E27FC236}">
                <a16:creationId xmlns:a16="http://schemas.microsoft.com/office/drawing/2014/main" xmlns="" id="{592E8160-8998-954E-B9DE-BDE0E2473914}"/>
              </a:ext>
            </a:extLst>
          </p:cNvPr>
          <p:cNvSpPr/>
          <p:nvPr/>
        </p:nvSpPr>
        <p:spPr bwMode="gray">
          <a:xfrm>
            <a:off x="-793" y="5137"/>
            <a:ext cx="9215435" cy="5186927"/>
          </a:xfrm>
          <a:prstGeom prst="rect">
            <a:avLst/>
          </a:prstGeom>
          <a:solidFill>
            <a:srgbClr val="000000">
              <a:alpha val="5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411" cap="all" dirty="0" err="1">
              <a:solidFill>
                <a:prstClr val="white"/>
              </a:solidFill>
              <a:latin typeface="adineue PRO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en-US" sz="2000" b="1" dirty="0" err="1" smtClean="0">
                <a:latin typeface="adineue PRO TT" panose="020B0503020201060004" pitchFamily="34" charset="77"/>
              </a:rPr>
              <a:t>Evolución</a:t>
            </a:r>
            <a:r>
              <a:rPr lang="en-US" sz="2000" b="1" dirty="0" smtClean="0">
                <a:latin typeface="adineue PRO TT" panose="020B0503020201060004" pitchFamily="34" charset="77"/>
              </a:rPr>
              <a:t> del </a:t>
            </a:r>
            <a:r>
              <a:rPr lang="en-US" sz="2000" b="1" dirty="0" err="1" smtClean="0">
                <a:latin typeface="adineue PRO TT" panose="020B0503020201060004" pitchFamily="34" charset="77"/>
              </a:rPr>
              <a:t>deporte</a:t>
            </a:r>
            <a:endParaRPr lang="en-US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ENFOQUE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VALOR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DEMO</a:t>
            </a:r>
          </a:p>
          <a:p>
            <a:r>
              <a:rPr lang="de-DE" sz="2000" b="1" dirty="0" smtClean="0">
                <a:latin typeface="adineue PRO TT" panose="020B0503020201060004" pitchFamily="34" charset="77"/>
              </a:rPr>
              <a:t>Vectores de mejora</a:t>
            </a:r>
            <a:endParaRPr lang="de-DE" sz="2000" b="1" dirty="0">
              <a:latin typeface="adineue PRO TT" panose="020B0503020201060004" pitchFamily="34" charset="77"/>
            </a:endParaRPr>
          </a:p>
          <a:p>
            <a:r>
              <a:rPr lang="de-DE" sz="2000" b="1" dirty="0">
                <a:latin typeface="adineue PRO TT" panose="020B0503020201060004" pitchFamily="34" charset="77"/>
              </a:rPr>
              <a:t>Q&amp;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F893B44C-8646-624C-9133-5F932F3ADC74}"/>
              </a:ext>
            </a:extLst>
          </p:cNvPr>
          <p:cNvCxnSpPr>
            <a:cxnSpLocks/>
          </p:cNvCxnSpPr>
          <p:nvPr/>
        </p:nvCxnSpPr>
        <p:spPr>
          <a:xfrm>
            <a:off x="1727200" y="1763713"/>
            <a:ext cx="0" cy="3132137"/>
          </a:xfrm>
          <a:prstGeom prst="line">
            <a:avLst/>
          </a:prstGeom>
          <a:ln w="28575" cmpd="sng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285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b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EVOLUCIóN</a:t>
            </a:r>
            <a:r>
              <a:rPr lang="en-US" sz="18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DEL DEPORTE</a:t>
            </a:r>
            <a:endParaRPr lang="en-US" sz="18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34" y="1379477"/>
            <a:ext cx="3269643" cy="2654613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07111"/>
            <a:ext cx="3614246" cy="2043475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294" y="2472710"/>
            <a:ext cx="3614246" cy="2424728"/>
          </a:xfrm>
          <a:prstGeom prst="rect">
            <a:avLst/>
          </a:prstGeom>
        </p:spPr>
      </p:pic>
      <p:sp>
        <p:nvSpPr>
          <p:cNvPr id="11" name="10 Flecha derecha"/>
          <p:cNvSpPr/>
          <p:nvPr/>
        </p:nvSpPr>
        <p:spPr bwMode="gray">
          <a:xfrm rot="19267003">
            <a:off x="3554181" y="1899946"/>
            <a:ext cx="701532" cy="553336"/>
          </a:xfrm>
          <a:prstGeom prst="rightArrow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  <p:sp>
        <p:nvSpPr>
          <p:cNvPr id="12" name="11 Flecha derecha"/>
          <p:cNvSpPr/>
          <p:nvPr/>
        </p:nvSpPr>
        <p:spPr bwMode="gray">
          <a:xfrm rot="5400000">
            <a:off x="5620895" y="2156542"/>
            <a:ext cx="599045" cy="501438"/>
          </a:xfrm>
          <a:prstGeom prst="rightArrow">
            <a:avLst/>
          </a:prstGeom>
          <a:solidFill>
            <a:schemeClr val="accent5">
              <a:lumMod val="90000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s-ES" sz="1200" b="1" dirty="0">
              <a:solidFill>
                <a:srgbClr val="FFC000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8624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1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117"/>
            <a:ext cx="9215438" cy="5107657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 bwMode="gray">
          <a:xfrm>
            <a:off x="1498294" y="231354"/>
            <a:ext cx="6277281" cy="7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 smtClean="0">
                <a:latin typeface="+mj-lt"/>
              </a:rPr>
              <a:t>ENFOQUE</a:t>
            </a:r>
            <a:endParaRPr lang="es-ES" sz="2800" b="1" dirty="0">
              <a:latin typeface="+mj-lt"/>
            </a:endParaRPr>
          </a:p>
        </p:txBody>
      </p:sp>
      <p:sp>
        <p:nvSpPr>
          <p:cNvPr id="14" name="13 CuadroTexto"/>
          <p:cNvSpPr txBox="1"/>
          <p:nvPr/>
        </p:nvSpPr>
        <p:spPr bwMode="gray">
          <a:xfrm>
            <a:off x="550843" y="3139807"/>
            <a:ext cx="4351663" cy="145422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sz="2800" dirty="0" smtClean="0">
                <a:latin typeface="adineue PRO TT"/>
              </a:rPr>
              <a:t>-Rendimiento.</a:t>
            </a:r>
          </a:p>
          <a:p>
            <a:r>
              <a:rPr lang="es-ES" sz="2800" dirty="0" smtClean="0">
                <a:latin typeface="adineue PRO TT"/>
              </a:rPr>
              <a:t>-Resultados.</a:t>
            </a:r>
          </a:p>
          <a:p>
            <a:r>
              <a:rPr lang="es-ES" sz="2800" dirty="0" smtClean="0">
                <a:latin typeface="adineue PRO TT"/>
              </a:rPr>
              <a:t>-Efectividad.</a:t>
            </a:r>
            <a:endParaRPr lang="es-ES" sz="2800" dirty="0">
              <a:latin typeface="adineue PRO TT"/>
            </a:endParaRPr>
          </a:p>
        </p:txBody>
      </p:sp>
    </p:spTree>
    <p:extLst>
      <p:ext uri="{BB962C8B-B14F-4D97-AF65-F5344CB8AC3E}">
        <p14:creationId xmlns:p14="http://schemas.microsoft.com/office/powerpoint/2010/main" val="41286897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Valor</a:t>
            </a:r>
            <a:endParaRPr lang="en-US" sz="3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73" y="764758"/>
            <a:ext cx="5111827" cy="3228542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098" y="1839816"/>
            <a:ext cx="3812933" cy="2864385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 bwMode="gray">
          <a:xfrm>
            <a:off x="374573" y="3993300"/>
            <a:ext cx="4098525" cy="90338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 smtClean="0">
                <a:latin typeface="+mn-lt"/>
              </a:rPr>
              <a:t>-Mejora de hábitos visuales.</a:t>
            </a:r>
          </a:p>
          <a:p>
            <a:r>
              <a:rPr lang="es-ES" dirty="0" smtClean="0">
                <a:latin typeface="+mn-lt"/>
              </a:rPr>
              <a:t>-Monitorización de estímulos.</a:t>
            </a:r>
          </a:p>
          <a:p>
            <a:r>
              <a:rPr lang="es-ES" dirty="0" smtClean="0">
                <a:latin typeface="+mn-lt"/>
              </a:rPr>
              <a:t>-Recolección de datos.</a:t>
            </a:r>
            <a:endParaRPr lang="es-E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2979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EE4BC0-5386-6442-BDE1-E7EC6DAA7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emo</a:t>
            </a:r>
            <a:endParaRPr lang="en-US" sz="4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0679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 bwMode="gray">
          <a:xfrm>
            <a:off x="1200839" y="220337"/>
            <a:ext cx="7439399" cy="13660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s-ES" sz="2800" b="1" dirty="0" smtClean="0">
                <a:solidFill>
                  <a:schemeClr val="accent5">
                    <a:lumMod val="75000"/>
                  </a:schemeClr>
                </a:solidFill>
                <a:latin typeface="+mj-lt"/>
              </a:rPr>
              <a:t>VECTORES DE MEJORA</a:t>
            </a:r>
            <a:endParaRPr lang="es-ES" sz="28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0" name="9 CuadroTexto"/>
          <p:cNvSpPr txBox="1"/>
          <p:nvPr/>
        </p:nvSpPr>
        <p:spPr bwMode="gray">
          <a:xfrm>
            <a:off x="539827" y="3712684"/>
            <a:ext cx="5244028" cy="88685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s-ES" dirty="0" smtClean="0">
                <a:latin typeface="+mn-lt"/>
              </a:rPr>
              <a:t>-Reconocimiento de emociones.</a:t>
            </a:r>
          </a:p>
          <a:p>
            <a:r>
              <a:rPr lang="es-ES" dirty="0" smtClean="0">
                <a:latin typeface="+mn-lt"/>
              </a:rPr>
              <a:t>-Mejora de la compresión de los datos</a:t>
            </a:r>
            <a:r>
              <a:rPr lang="es-ES" sz="1200" dirty="0" smtClean="0">
                <a:latin typeface="+mn-lt"/>
              </a:rPr>
              <a:t>.</a:t>
            </a: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27" y="1001598"/>
            <a:ext cx="4819708" cy="2711086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4320" y="1001598"/>
            <a:ext cx="3653389" cy="329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3122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2146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2146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305759" y="669267"/>
            <a:ext cx="6349924" cy="4325708"/>
            <a:chOff x="611560" y="663538"/>
            <a:chExt cx="6300700" cy="4292175"/>
          </a:xfrm>
        </p:grpSpPr>
        <p:pic>
          <p:nvPicPr>
            <p:cNvPr id="62469" name="Picture 5" descr="http://ez-fit.com/img/ez-Q&amp;A.png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438" b="7879"/>
            <a:stretch/>
          </p:blipFill>
          <p:spPr bwMode="auto">
            <a:xfrm>
              <a:off x="611560" y="4155926"/>
              <a:ext cx="5099720" cy="799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ounded Rectangular Callout 3"/>
            <p:cNvSpPr/>
            <p:nvPr/>
          </p:nvSpPr>
          <p:spPr bwMode="gray">
            <a:xfrm>
              <a:off x="1511660" y="663538"/>
              <a:ext cx="3060340" cy="2412268"/>
            </a:xfrm>
            <a:prstGeom prst="wedgeRoundRectCallout">
              <a:avLst>
                <a:gd name="adj1" fmla="val -1029"/>
                <a:gd name="adj2" fmla="val 74401"/>
                <a:gd name="adj3" fmla="val 1666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Q</a:t>
              </a:r>
            </a:p>
          </p:txBody>
        </p:sp>
        <p:sp>
          <p:nvSpPr>
            <p:cNvPr id="5" name="Oval Callout 4"/>
            <p:cNvSpPr/>
            <p:nvPr/>
          </p:nvSpPr>
          <p:spPr bwMode="gray">
            <a:xfrm>
              <a:off x="3671900" y="1347614"/>
              <a:ext cx="3240360" cy="2628292"/>
            </a:xfrm>
            <a:prstGeom prst="wedgeEllipseCallout">
              <a:avLst>
                <a:gd name="adj1" fmla="val -56271"/>
                <a:gd name="adj2" fmla="val 56027"/>
              </a:avLst>
            </a:prstGeom>
            <a:noFill/>
            <a:ln w="76200" cap="sq">
              <a:solidFill>
                <a:schemeClr val="accent1">
                  <a:lumMod val="50000"/>
                  <a:lumOff val="50000"/>
                </a:schemeClr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563" tIns="72563" rIns="72563" bIns="7256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676" cap="all" dirty="0">
                  <a:solidFill>
                    <a:schemeClr val="accent3">
                      <a:lumMod val="50000"/>
                    </a:schemeClr>
                  </a:solidFill>
                  <a:latin typeface="adineue PRO Black" panose="020B0A03020201060004" pitchFamily="34" charset="0"/>
                  <a:cs typeface="AdihausDIN" panose="020B0504020101020102" pitchFamily="34" charset="0"/>
                </a:rPr>
                <a:t>A</a:t>
              </a:r>
            </a:p>
          </p:txBody>
        </p:sp>
      </p:grpSp>
      <p:sp>
        <p:nvSpPr>
          <p:cNvPr id="7" name="TextBox 6"/>
          <p:cNvSpPr txBox="1"/>
          <p:nvPr/>
        </p:nvSpPr>
        <p:spPr bwMode="gray">
          <a:xfrm>
            <a:off x="4535149" y="1975538"/>
            <a:ext cx="798276" cy="10159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square" lIns="72563" tIns="72563" rIns="72563" bIns="72563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442" b="1" dirty="0">
                <a:solidFill>
                  <a:schemeClr val="accent3">
                    <a:lumMod val="40000"/>
                    <a:lumOff val="60000"/>
                  </a:schemeClr>
                </a:solidFill>
                <a:cs typeface="AdihausDIN" panose="020B0504020101020102" pitchFamily="34" charset="0"/>
              </a:rPr>
              <a:t>&amp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6E0F7A4-6AAE-A34D-A161-36A8AD4F689E}"/>
              </a:ext>
            </a:extLst>
          </p:cNvPr>
          <p:cNvSpPr txBox="1"/>
          <p:nvPr/>
        </p:nvSpPr>
        <p:spPr bwMode="gray">
          <a:xfrm>
            <a:off x="3010619" y="212209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endParaRPr lang="es-E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12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4f6cc6-4b15-4b6d-8a32-1af3767c57a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22709b-08ff-43bb-b10c-53a69caedfe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7e198c-37a6-41b4-b6af-43ea232db5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9a0373-93a7-4ffa-96e1-104fede0436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1817d-fe2d-46ac-a9ea-d5a8e649b6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bad61-261e-4449-938a-ae838d5f7cf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e128e2-d0aa-4c6a-9d52-63f426bf4e6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decabc-fd87-4a53-a96b-65059b7e4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cf6756-3905-4529-9446-20bec88e5c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25a482-56a5-443d-bdf7-427b9ff9a8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02ffa4-91a8-4bda-b7ad-091f8184b2a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981e6-dfc4-4855-a73c-5c76ce611d2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60d7a-fa99-4b2e-8ca5-cda2836d143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a45a3e-b9ac-4519-9428-6ac73a44d88e"/>
  <p:tag name="MIO_EK" val="2476"/>
  <p:tag name="MIO_EKGUID" val="3583ed02-b2d5-424f-b0d3-bd70505e40ba"/>
  <p:tag name="MIO_UPDATE" val="True"/>
  <p:tag name="MIO_VERSION" val="17.08.2016 11:30:32"/>
  <p:tag name="MIO_DBID" val="BC504D36-830F-4A8E-A2F2-2ABC5D2D9ABF"/>
  <p:tag name="MIO_LASTDOWNLOADED" val="06.04.2017 10:35:02"/>
  <p:tag name="MIO_OBJECTNAME" val="Originals"/>
  <p:tag name="MIO_LASTEDITORNAME" val="Christoph Gegenheim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eaf69a-c9c3-4138-b52f-cdf00ab13fe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1bb59-33c1-49ee-a27f-fa21d7d6ef48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AFCE587C-32F4-2348-8B12-663C84BF959A}"/>
    </a:ext>
  </a:extLst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1A6E5390-A284-7E41-91FC-63E9D6812D0F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C4510F79-3E07-7A40-9FDA-483AE3ED4F3D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502F0011-7AC5-7E44-BB9B-EFC37D731C97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CD799768-5690-0F4C-A976-2307A4387DAB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8EAAA618-248A-DD4A-902D-3D8D9AF8B9F5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xmlns="" name="adidas_PPT_Template_2017" id="{B7D7B035-0FC3-C247-A593-EC80FF0EF8B0}" vid="{29F153E8-F82E-D241-85C6-CE3D8AFA8336}"/>
    </a:ext>
  </a:extLst>
</a:theme>
</file>

<file path=ppt/theme/theme8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 TEMPLATE 2017 (BOLD PINK)</Template>
  <TotalTime>1811</TotalTime>
  <Words>242</Words>
  <Application>Microsoft Office PowerPoint</Application>
  <PresentationFormat>Personalizado</PresentationFormat>
  <Paragraphs>68</Paragraphs>
  <Slides>14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2" baseType="lpstr"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think-cell Slide</vt:lpstr>
      <vt:lpstr>NO name</vt:lpstr>
      <vt:lpstr>MIEMBROS DEL EQUIPO</vt:lpstr>
      <vt:lpstr>AGENDA</vt:lpstr>
      <vt:lpstr>EVOLUCIóN DEL DEPORTE</vt:lpstr>
      <vt:lpstr>Presentación de PowerPoint</vt:lpstr>
      <vt:lpstr>Valor</vt:lpstr>
      <vt:lpstr>Demo</vt:lpstr>
      <vt:lpstr>Presentación de PowerPoint</vt:lpstr>
      <vt:lpstr>Presentación de PowerPoint</vt:lpstr>
      <vt:lpstr>Presentación de PowerPoint</vt:lpstr>
      <vt:lpstr>remember</vt:lpstr>
      <vt:lpstr>ShoW</vt:lpstr>
      <vt:lpstr>Judging criteria</vt:lpstr>
      <vt:lpstr>rul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Frechoso, Javier</dc:creator>
  <cp:lastModifiedBy>Gabriel M</cp:lastModifiedBy>
  <cp:revision>152</cp:revision>
  <cp:lastPrinted>2015-05-04T06:43:15Z</cp:lastPrinted>
  <dcterms:created xsi:type="dcterms:W3CDTF">2019-03-09T19:27:14Z</dcterms:created>
  <dcterms:modified xsi:type="dcterms:W3CDTF">2019-03-24T00:17:07Z</dcterms:modified>
  <dc:language>English-UK</dc:language>
</cp:coreProperties>
</file>